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26"/>
  </p:notesMasterIdLst>
  <p:handoutMasterIdLst>
    <p:handoutMasterId r:id="rId27"/>
  </p:handoutMasterIdLst>
  <p:sldIdLst>
    <p:sldId id="257" r:id="rId2"/>
    <p:sldId id="6546" r:id="rId3"/>
    <p:sldId id="451" r:id="rId4"/>
    <p:sldId id="4856" r:id="rId5"/>
    <p:sldId id="6524" r:id="rId6"/>
    <p:sldId id="4859" r:id="rId7"/>
    <p:sldId id="6520" r:id="rId8"/>
    <p:sldId id="6521" r:id="rId9"/>
    <p:sldId id="6522" r:id="rId10"/>
    <p:sldId id="6547" r:id="rId11"/>
    <p:sldId id="6528" r:id="rId12"/>
    <p:sldId id="6530" r:id="rId13"/>
    <p:sldId id="6531" r:id="rId14"/>
    <p:sldId id="6548" r:id="rId15"/>
    <p:sldId id="6549" r:id="rId16"/>
    <p:sldId id="6529" r:id="rId17"/>
    <p:sldId id="6532" r:id="rId18"/>
    <p:sldId id="1877" r:id="rId19"/>
    <p:sldId id="6545" r:id="rId20"/>
    <p:sldId id="6537" r:id="rId21"/>
    <p:sldId id="6550" r:id="rId22"/>
    <p:sldId id="6544" r:id="rId23"/>
    <p:sldId id="6553" r:id="rId24"/>
    <p:sldId id="6526" r:id="rId25"/>
  </p:sldIdLst>
  <p:sldSz cx="9144000" cy="5715000" type="screen16x10"/>
  <p:notesSz cx="7315200" cy="96012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F7F4EC"/>
    <a:srgbClr val="FFFFFF"/>
    <a:srgbClr val="F4F5F0"/>
    <a:srgbClr val="595F66"/>
    <a:srgbClr val="3B8289"/>
    <a:srgbClr val="63878A"/>
    <a:srgbClr val="FFFF00"/>
    <a:srgbClr val="FF66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45" autoAdjust="0"/>
    <p:restoredTop sz="94582" autoAdjust="0"/>
  </p:normalViewPr>
  <p:slideViewPr>
    <p:cSldViewPr snapToGrid="0">
      <p:cViewPr varScale="1">
        <p:scale>
          <a:sx n="195" d="100"/>
          <a:sy n="195" d="100"/>
        </p:scale>
        <p:origin x="122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urtis Smith" userId="853fbcd611ad0f8e" providerId="LiveId" clId="{983DBE7F-926B-4ABA-81E4-B96B828DF227}"/>
    <pc:docChg chg="undo custSel addSld delSld modSld sldOrd modMainMaster">
      <pc:chgData name="Curtis Smith" userId="853fbcd611ad0f8e" providerId="LiveId" clId="{983DBE7F-926B-4ABA-81E4-B96B828DF227}" dt="2026-05-13T16:11:59.005" v="2167" actId="1037"/>
      <pc:docMkLst>
        <pc:docMk/>
      </pc:docMkLst>
      <pc:sldChg chg="delSp modSp mod">
        <pc:chgData name="Curtis Smith" userId="853fbcd611ad0f8e" providerId="LiveId" clId="{983DBE7F-926B-4ABA-81E4-B96B828DF227}" dt="2026-05-02T14:16:50.540" v="215" actId="207"/>
        <pc:sldMkLst>
          <pc:docMk/>
          <pc:sldMk cId="1723685364" sldId="257"/>
        </pc:sldMkLst>
        <pc:spChg chg="mod">
          <ac:chgData name="Curtis Smith" userId="853fbcd611ad0f8e" providerId="LiveId" clId="{983DBE7F-926B-4ABA-81E4-B96B828DF227}" dt="2026-05-02T14:16:50.540" v="215" actId="207"/>
          <ac:spMkLst>
            <pc:docMk/>
            <pc:sldMk cId="1723685364" sldId="257"/>
            <ac:spMk id="2" creationId="{00000000-0000-0000-0000-000000000000}"/>
          </ac:spMkLst>
        </pc:spChg>
        <pc:spChg chg="del">
          <ac:chgData name="Curtis Smith" userId="853fbcd611ad0f8e" providerId="LiveId" clId="{983DBE7F-926B-4ABA-81E4-B96B828DF227}" dt="2026-05-02T14:00:46.916" v="4" actId="478"/>
          <ac:spMkLst>
            <pc:docMk/>
            <pc:sldMk cId="1723685364" sldId="257"/>
            <ac:spMk id="11" creationId="{00000000-0000-0000-0000-000000000000}"/>
          </ac:spMkLst>
        </pc:spChg>
        <pc:spChg chg="mod">
          <ac:chgData name="Curtis Smith" userId="853fbcd611ad0f8e" providerId="LiveId" clId="{983DBE7F-926B-4ABA-81E4-B96B828DF227}" dt="2026-05-02T14:01:03.482" v="23" actId="20577"/>
          <ac:spMkLst>
            <pc:docMk/>
            <pc:sldMk cId="1723685364" sldId="257"/>
            <ac:spMk id="13" creationId="{0CCD4D48-74AE-4CFD-A431-2539498D5A8F}"/>
          </ac:spMkLst>
        </pc:spChg>
      </pc:sldChg>
      <pc:sldChg chg="del">
        <pc:chgData name="Curtis Smith" userId="853fbcd611ad0f8e" providerId="LiveId" clId="{983DBE7F-926B-4ABA-81E4-B96B828DF227}" dt="2026-05-02T14:05:40.314" v="198" actId="47"/>
        <pc:sldMkLst>
          <pc:docMk/>
          <pc:sldMk cId="2146775711" sldId="265"/>
        </pc:sldMkLst>
      </pc:sldChg>
      <pc:sldChg chg="del">
        <pc:chgData name="Curtis Smith" userId="853fbcd611ad0f8e" providerId="LiveId" clId="{983DBE7F-926B-4ABA-81E4-B96B828DF227}" dt="2026-05-02T14:05:46.281" v="201" actId="47"/>
        <pc:sldMkLst>
          <pc:docMk/>
          <pc:sldMk cId="3108322460" sldId="277"/>
        </pc:sldMkLst>
      </pc:sldChg>
      <pc:sldChg chg="del">
        <pc:chgData name="Curtis Smith" userId="853fbcd611ad0f8e" providerId="LiveId" clId="{983DBE7F-926B-4ABA-81E4-B96B828DF227}" dt="2026-05-02T14:05:48.234" v="202" actId="47"/>
        <pc:sldMkLst>
          <pc:docMk/>
          <pc:sldMk cId="4024632269" sldId="280"/>
        </pc:sldMkLst>
      </pc:sldChg>
      <pc:sldChg chg="add del">
        <pc:chgData name="Curtis Smith" userId="853fbcd611ad0f8e" providerId="LiveId" clId="{983DBE7F-926B-4ABA-81E4-B96B828DF227}" dt="2026-05-03T00:25:01.739" v="1157" actId="47"/>
        <pc:sldMkLst>
          <pc:docMk/>
          <pc:sldMk cId="2317986175" sldId="319"/>
        </pc:sldMkLst>
      </pc:sldChg>
      <pc:sldChg chg="del">
        <pc:chgData name="Curtis Smith" userId="853fbcd611ad0f8e" providerId="LiveId" clId="{983DBE7F-926B-4ABA-81E4-B96B828DF227}" dt="2026-05-02T14:06:08.554" v="206" actId="47"/>
        <pc:sldMkLst>
          <pc:docMk/>
          <pc:sldMk cId="3458769050" sldId="338"/>
        </pc:sldMkLst>
      </pc:sldChg>
      <pc:sldChg chg="del">
        <pc:chgData name="Curtis Smith" userId="853fbcd611ad0f8e" providerId="LiveId" clId="{983DBE7F-926B-4ABA-81E4-B96B828DF227}" dt="2026-05-02T23:42:01.101" v="239" actId="47"/>
        <pc:sldMkLst>
          <pc:docMk/>
          <pc:sldMk cId="2891657327" sldId="427"/>
        </pc:sldMkLst>
      </pc:sldChg>
      <pc:sldChg chg="del">
        <pc:chgData name="Curtis Smith" userId="853fbcd611ad0f8e" providerId="LiveId" clId="{983DBE7F-926B-4ABA-81E4-B96B828DF227}" dt="2026-05-02T14:05:41.945" v="199" actId="47"/>
        <pc:sldMkLst>
          <pc:docMk/>
          <pc:sldMk cId="3172259294" sldId="1286"/>
        </pc:sldMkLst>
      </pc:sldChg>
      <pc:sldChg chg="del">
        <pc:chgData name="Curtis Smith" userId="853fbcd611ad0f8e" providerId="LiveId" clId="{983DBE7F-926B-4ABA-81E4-B96B828DF227}" dt="2026-05-02T14:05:58.139" v="204" actId="47"/>
        <pc:sldMkLst>
          <pc:docMk/>
          <pc:sldMk cId="2850381299" sldId="1849"/>
        </pc:sldMkLst>
      </pc:sldChg>
      <pc:sldChg chg="addSp delSp modSp mod ord">
        <pc:chgData name="Curtis Smith" userId="853fbcd611ad0f8e" providerId="LiveId" clId="{983DBE7F-926B-4ABA-81E4-B96B828DF227}" dt="2026-05-13T16:09:30.249" v="2149" actId="478"/>
        <pc:sldMkLst>
          <pc:docMk/>
          <pc:sldMk cId="2722661406" sldId="1877"/>
        </pc:sldMkLst>
        <pc:spChg chg="mod">
          <ac:chgData name="Curtis Smith" userId="853fbcd611ad0f8e" providerId="LiveId" clId="{983DBE7F-926B-4ABA-81E4-B96B828DF227}" dt="2026-05-03T00:25:09.903" v="1165" actId="6549"/>
          <ac:spMkLst>
            <pc:docMk/>
            <pc:sldMk cId="2722661406" sldId="1877"/>
            <ac:spMk id="7" creationId="{79973AC6-F246-4727-97BF-8EBA42D76FAA}"/>
          </ac:spMkLst>
        </pc:spChg>
        <pc:picChg chg="add del">
          <ac:chgData name="Curtis Smith" userId="853fbcd611ad0f8e" providerId="LiveId" clId="{983DBE7F-926B-4ABA-81E4-B96B828DF227}" dt="2026-05-13T16:09:30.249" v="2149" actId="478"/>
          <ac:picMkLst>
            <pc:docMk/>
            <pc:sldMk cId="2722661406" sldId="1877"/>
            <ac:picMk id="1026" creationId="{00000000-0000-0000-0000-000000000000}"/>
          </ac:picMkLst>
        </pc:picChg>
      </pc:sldChg>
      <pc:sldChg chg="del">
        <pc:chgData name="Curtis Smith" userId="853fbcd611ad0f8e" providerId="LiveId" clId="{983DBE7F-926B-4ABA-81E4-B96B828DF227}" dt="2026-05-02T14:05:01.910" v="196" actId="47"/>
        <pc:sldMkLst>
          <pc:docMk/>
          <pc:sldMk cId="2705964123" sldId="4847"/>
        </pc:sldMkLst>
      </pc:sldChg>
      <pc:sldChg chg="modSp mod">
        <pc:chgData name="Curtis Smith" userId="853fbcd611ad0f8e" providerId="LiveId" clId="{983DBE7F-926B-4ABA-81E4-B96B828DF227}" dt="2026-05-02T14:04:53.214" v="195" actId="207"/>
        <pc:sldMkLst>
          <pc:docMk/>
          <pc:sldMk cId="2918020660" sldId="4855"/>
        </pc:sldMkLst>
        <pc:spChg chg="mod">
          <ac:chgData name="Curtis Smith" userId="853fbcd611ad0f8e" providerId="LiveId" clId="{983DBE7F-926B-4ABA-81E4-B96B828DF227}" dt="2026-05-02T14:04:53.214" v="195" actId="207"/>
          <ac:spMkLst>
            <pc:docMk/>
            <pc:sldMk cId="2918020660" sldId="4855"/>
            <ac:spMk id="7" creationId="{3A4A582B-4412-44A5-A005-2803BA726049}"/>
          </ac:spMkLst>
        </pc:spChg>
      </pc:sldChg>
      <pc:sldChg chg="addSp delSp modSp mod">
        <pc:chgData name="Curtis Smith" userId="853fbcd611ad0f8e" providerId="LiveId" clId="{983DBE7F-926B-4ABA-81E4-B96B828DF227}" dt="2026-05-13T16:09:58.488" v="2151" actId="478"/>
        <pc:sldMkLst>
          <pc:docMk/>
          <pc:sldMk cId="1589333967" sldId="4856"/>
        </pc:sldMkLst>
        <pc:spChg chg="mod">
          <ac:chgData name="Curtis Smith" userId="853fbcd611ad0f8e" providerId="LiveId" clId="{983DBE7F-926B-4ABA-81E4-B96B828DF227}" dt="2026-05-02T23:38:42.831" v="223" actId="20577"/>
          <ac:spMkLst>
            <pc:docMk/>
            <pc:sldMk cId="1589333967" sldId="4856"/>
            <ac:spMk id="5" creationId="{00000000-0000-0000-0000-000000000000}"/>
          </ac:spMkLst>
        </pc:spChg>
        <pc:picChg chg="add del">
          <ac:chgData name="Curtis Smith" userId="853fbcd611ad0f8e" providerId="LiveId" clId="{983DBE7F-926B-4ABA-81E4-B96B828DF227}" dt="2026-05-13T16:09:58.488" v="2151" actId="478"/>
          <ac:picMkLst>
            <pc:docMk/>
            <pc:sldMk cId="1589333967" sldId="4856"/>
            <ac:picMk id="1026" creationId="{00000000-0000-0000-0000-000000000000}"/>
          </ac:picMkLst>
        </pc:picChg>
      </pc:sldChg>
      <pc:sldChg chg="del">
        <pc:chgData name="Curtis Smith" userId="853fbcd611ad0f8e" providerId="LiveId" clId="{983DBE7F-926B-4ABA-81E4-B96B828DF227}" dt="2026-05-02T14:03:25.618" v="94" actId="47"/>
        <pc:sldMkLst>
          <pc:docMk/>
          <pc:sldMk cId="845283247" sldId="4857"/>
        </pc:sldMkLst>
      </pc:sldChg>
      <pc:sldChg chg="del">
        <pc:chgData name="Curtis Smith" userId="853fbcd611ad0f8e" providerId="LiveId" clId="{983DBE7F-926B-4ABA-81E4-B96B828DF227}" dt="2026-05-02T14:03:27.225" v="95" actId="47"/>
        <pc:sldMkLst>
          <pc:docMk/>
          <pc:sldMk cId="1806794709" sldId="4858"/>
        </pc:sldMkLst>
      </pc:sldChg>
      <pc:sldChg chg="modSp mod">
        <pc:chgData name="Curtis Smith" userId="853fbcd611ad0f8e" providerId="LiveId" clId="{983DBE7F-926B-4ABA-81E4-B96B828DF227}" dt="2026-05-02T23:42:37.622" v="259" actId="20577"/>
        <pc:sldMkLst>
          <pc:docMk/>
          <pc:sldMk cId="1458448935" sldId="4859"/>
        </pc:sldMkLst>
        <pc:spChg chg="mod">
          <ac:chgData name="Curtis Smith" userId="853fbcd611ad0f8e" providerId="LiveId" clId="{983DBE7F-926B-4ABA-81E4-B96B828DF227}" dt="2026-05-02T23:42:37.622" v="259" actId="20577"/>
          <ac:spMkLst>
            <pc:docMk/>
            <pc:sldMk cId="1458448935" sldId="4859"/>
            <ac:spMk id="9" creationId="{FEF7A950-A1A6-4934-B50E-7CDBB984B261}"/>
          </ac:spMkLst>
        </pc:spChg>
      </pc:sldChg>
      <pc:sldChg chg="del">
        <pc:chgData name="Curtis Smith" userId="853fbcd611ad0f8e" providerId="LiveId" clId="{983DBE7F-926B-4ABA-81E4-B96B828DF227}" dt="2026-05-02T14:06:06.677" v="205" actId="47"/>
        <pc:sldMkLst>
          <pc:docMk/>
          <pc:sldMk cId="1457345027" sldId="6519"/>
        </pc:sldMkLst>
      </pc:sldChg>
      <pc:sldChg chg="delSp modSp mod">
        <pc:chgData name="Curtis Smith" userId="853fbcd611ad0f8e" providerId="LiveId" clId="{983DBE7F-926B-4ABA-81E4-B96B828DF227}" dt="2026-05-02T23:43:59.437" v="322" actId="6549"/>
        <pc:sldMkLst>
          <pc:docMk/>
          <pc:sldMk cId="1132796151" sldId="6520"/>
        </pc:sldMkLst>
        <pc:spChg chg="mod">
          <ac:chgData name="Curtis Smith" userId="853fbcd611ad0f8e" providerId="LiveId" clId="{983DBE7F-926B-4ABA-81E4-B96B828DF227}" dt="2026-05-02T23:43:59.437" v="322" actId="6549"/>
          <ac:spMkLst>
            <pc:docMk/>
            <pc:sldMk cId="1132796151" sldId="6520"/>
            <ac:spMk id="6" creationId="{65D44080-5964-4EAA-A9C4-928BA1D19935}"/>
          </ac:spMkLst>
        </pc:spChg>
        <pc:picChg chg="del">
          <ac:chgData name="Curtis Smith" userId="853fbcd611ad0f8e" providerId="LiveId" clId="{983DBE7F-926B-4ABA-81E4-B96B828DF227}" dt="2026-05-02T23:43:10.730" v="260" actId="478"/>
          <ac:picMkLst>
            <pc:docMk/>
            <pc:sldMk cId="1132796151" sldId="6520"/>
            <ac:picMk id="8" creationId="{6098B73F-596B-436B-903B-A0EDC9CB9555}"/>
          </ac:picMkLst>
        </pc:picChg>
      </pc:sldChg>
      <pc:sldChg chg="modSp mod">
        <pc:chgData name="Curtis Smith" userId="853fbcd611ad0f8e" providerId="LiveId" clId="{983DBE7F-926B-4ABA-81E4-B96B828DF227}" dt="2026-05-03T01:12:28.888" v="2094" actId="20577"/>
        <pc:sldMkLst>
          <pc:docMk/>
          <pc:sldMk cId="1528464671" sldId="6521"/>
        </pc:sldMkLst>
        <pc:spChg chg="mod">
          <ac:chgData name="Curtis Smith" userId="853fbcd611ad0f8e" providerId="LiveId" clId="{983DBE7F-926B-4ABA-81E4-B96B828DF227}" dt="2026-05-03T01:12:28.888" v="2094" actId="20577"/>
          <ac:spMkLst>
            <pc:docMk/>
            <pc:sldMk cId="1528464671" sldId="6521"/>
            <ac:spMk id="6" creationId="{1C5A1C1A-053F-496F-9D05-D7D492185706}"/>
          </ac:spMkLst>
        </pc:spChg>
      </pc:sldChg>
      <pc:sldChg chg="modSp mod">
        <pc:chgData name="Curtis Smith" userId="853fbcd611ad0f8e" providerId="LiveId" clId="{983DBE7F-926B-4ABA-81E4-B96B828DF227}" dt="2026-05-02T23:53:05.135" v="517" actId="6549"/>
        <pc:sldMkLst>
          <pc:docMk/>
          <pc:sldMk cId="1975827597" sldId="6522"/>
        </pc:sldMkLst>
        <pc:spChg chg="mod">
          <ac:chgData name="Curtis Smith" userId="853fbcd611ad0f8e" providerId="LiveId" clId="{983DBE7F-926B-4ABA-81E4-B96B828DF227}" dt="2026-05-02T23:53:05.135" v="517" actId="6549"/>
          <ac:spMkLst>
            <pc:docMk/>
            <pc:sldMk cId="1975827597" sldId="6522"/>
            <ac:spMk id="7" creationId="{9DDE22E1-B590-4078-AFB7-1EB625C5444A}"/>
          </ac:spMkLst>
        </pc:spChg>
      </pc:sldChg>
      <pc:sldChg chg="del ord">
        <pc:chgData name="Curtis Smith" userId="853fbcd611ad0f8e" providerId="LiveId" clId="{983DBE7F-926B-4ABA-81E4-B96B828DF227}" dt="2026-05-03T01:12:01.463" v="2093" actId="47"/>
        <pc:sldMkLst>
          <pc:docMk/>
          <pc:sldMk cId="1062764317" sldId="6523"/>
        </pc:sldMkLst>
      </pc:sldChg>
      <pc:sldChg chg="modSp mod ord">
        <pc:chgData name="Curtis Smith" userId="853fbcd611ad0f8e" providerId="LiveId" clId="{983DBE7F-926B-4ABA-81E4-B96B828DF227}" dt="2026-05-02T23:41:12.024" v="238" actId="6549"/>
        <pc:sldMkLst>
          <pc:docMk/>
          <pc:sldMk cId="2527924517" sldId="6524"/>
        </pc:sldMkLst>
        <pc:spChg chg="mod">
          <ac:chgData name="Curtis Smith" userId="853fbcd611ad0f8e" providerId="LiveId" clId="{983DBE7F-926B-4ABA-81E4-B96B828DF227}" dt="2026-05-02T23:41:12.024" v="238" actId="6549"/>
          <ac:spMkLst>
            <pc:docMk/>
            <pc:sldMk cId="2527924517" sldId="6524"/>
            <ac:spMk id="3" creationId="{2C24B685-AFB2-4378-B833-13CF5E54B3B8}"/>
          </ac:spMkLst>
        </pc:spChg>
      </pc:sldChg>
      <pc:sldChg chg="del">
        <pc:chgData name="Curtis Smith" userId="853fbcd611ad0f8e" providerId="LiveId" clId="{983DBE7F-926B-4ABA-81E4-B96B828DF227}" dt="2026-05-02T14:05:44.578" v="200" actId="47"/>
        <pc:sldMkLst>
          <pc:docMk/>
          <pc:sldMk cId="1346695377" sldId="6525"/>
        </pc:sldMkLst>
      </pc:sldChg>
      <pc:sldChg chg="addSp delSp modSp mod">
        <pc:chgData name="Curtis Smith" userId="853fbcd611ad0f8e" providerId="LiveId" clId="{983DBE7F-926B-4ABA-81E4-B96B828DF227}" dt="2026-05-13T16:06:48.167" v="2134" actId="14100"/>
        <pc:sldMkLst>
          <pc:docMk/>
          <pc:sldMk cId="215854103" sldId="6526"/>
        </pc:sldMkLst>
        <pc:picChg chg="del">
          <ac:chgData name="Curtis Smith" userId="853fbcd611ad0f8e" providerId="LiveId" clId="{983DBE7F-926B-4ABA-81E4-B96B828DF227}" dt="2026-05-13T16:06:32.879" v="2130" actId="478"/>
          <ac:picMkLst>
            <pc:docMk/>
            <pc:sldMk cId="215854103" sldId="6526"/>
            <ac:picMk id="4" creationId="{94A57CDE-E85D-41F1-A8F0-A9C6487B415B}"/>
          </ac:picMkLst>
        </pc:picChg>
        <pc:picChg chg="add mod">
          <ac:chgData name="Curtis Smith" userId="853fbcd611ad0f8e" providerId="LiveId" clId="{983DBE7F-926B-4ABA-81E4-B96B828DF227}" dt="2026-05-13T16:06:48.167" v="2134" actId="14100"/>
          <ac:picMkLst>
            <pc:docMk/>
            <pc:sldMk cId="215854103" sldId="6526"/>
            <ac:picMk id="6" creationId="{7EBA746F-0F75-425F-ACF2-CB0B97D1DF7E}"/>
          </ac:picMkLst>
        </pc:picChg>
      </pc:sldChg>
      <pc:sldChg chg="del">
        <pc:chgData name="Curtis Smith" userId="853fbcd611ad0f8e" providerId="LiveId" clId="{983DBE7F-926B-4ABA-81E4-B96B828DF227}" dt="2026-05-02T14:06:25.548" v="209" actId="47"/>
        <pc:sldMkLst>
          <pc:docMk/>
          <pc:sldMk cId="4237081307" sldId="6527"/>
        </pc:sldMkLst>
      </pc:sldChg>
      <pc:sldChg chg="ord">
        <pc:chgData name="Curtis Smith" userId="853fbcd611ad0f8e" providerId="LiveId" clId="{983DBE7F-926B-4ABA-81E4-B96B828DF227}" dt="2026-05-02T23:55:56.717" v="538"/>
        <pc:sldMkLst>
          <pc:docMk/>
          <pc:sldMk cId="1576756538" sldId="6528"/>
        </pc:sldMkLst>
      </pc:sldChg>
      <pc:sldChg chg="addSp modSp mod ord">
        <pc:chgData name="Curtis Smith" userId="853fbcd611ad0f8e" providerId="LiveId" clId="{983DBE7F-926B-4ABA-81E4-B96B828DF227}" dt="2026-05-03T00:28:41.798" v="1188" actId="1076"/>
        <pc:sldMkLst>
          <pc:docMk/>
          <pc:sldMk cId="2854361301" sldId="6529"/>
        </pc:sldMkLst>
        <pc:spChg chg="mod">
          <ac:chgData name="Curtis Smith" userId="853fbcd611ad0f8e" providerId="LiveId" clId="{983DBE7F-926B-4ABA-81E4-B96B828DF227}" dt="2026-05-03T00:28:27.437" v="1185" actId="20577"/>
          <ac:spMkLst>
            <pc:docMk/>
            <pc:sldMk cId="2854361301" sldId="6529"/>
            <ac:spMk id="3" creationId="{2C24B685-AFB2-4378-B833-13CF5E54B3B8}"/>
          </ac:spMkLst>
        </pc:spChg>
        <pc:picChg chg="add mod">
          <ac:chgData name="Curtis Smith" userId="853fbcd611ad0f8e" providerId="LiveId" clId="{983DBE7F-926B-4ABA-81E4-B96B828DF227}" dt="2026-05-03T00:28:41.798" v="1188" actId="1076"/>
          <ac:picMkLst>
            <pc:docMk/>
            <pc:sldMk cId="2854361301" sldId="6529"/>
            <ac:picMk id="5" creationId="{59AA6A6C-2B2F-4F80-91EE-917227D59277}"/>
          </ac:picMkLst>
        </pc:picChg>
      </pc:sldChg>
      <pc:sldChg chg="addSp delSp modSp mod">
        <pc:chgData name="Curtis Smith" userId="853fbcd611ad0f8e" providerId="LiveId" clId="{983DBE7F-926B-4ABA-81E4-B96B828DF227}" dt="2026-05-03T01:19:32.727" v="2105" actId="1076"/>
        <pc:sldMkLst>
          <pc:docMk/>
          <pc:sldMk cId="2002674615" sldId="6530"/>
        </pc:sldMkLst>
        <pc:spChg chg="del">
          <ac:chgData name="Curtis Smith" userId="853fbcd611ad0f8e" providerId="LiveId" clId="{983DBE7F-926B-4ABA-81E4-B96B828DF227}" dt="2026-05-02T23:56:40.138" v="539" actId="478"/>
          <ac:spMkLst>
            <pc:docMk/>
            <pc:sldMk cId="2002674615" sldId="6530"/>
            <ac:spMk id="7" creationId="{74039076-150F-4B7C-8702-C529F9A0C049}"/>
          </ac:spMkLst>
        </pc:spChg>
        <pc:picChg chg="add del mod">
          <ac:chgData name="Curtis Smith" userId="853fbcd611ad0f8e" providerId="LiveId" clId="{983DBE7F-926B-4ABA-81E4-B96B828DF227}" dt="2026-05-02T23:58:03.779" v="546" actId="478"/>
          <ac:picMkLst>
            <pc:docMk/>
            <pc:sldMk cId="2002674615" sldId="6530"/>
            <ac:picMk id="4" creationId="{DF8A06D9-DC9C-4F0A-BB4B-D792862EFD6E}"/>
          </ac:picMkLst>
        </pc:picChg>
        <pc:picChg chg="add del mod">
          <ac:chgData name="Curtis Smith" userId="853fbcd611ad0f8e" providerId="LiveId" clId="{983DBE7F-926B-4ABA-81E4-B96B828DF227}" dt="2026-05-03T01:16:18.819" v="2096" actId="478"/>
          <ac:picMkLst>
            <pc:docMk/>
            <pc:sldMk cId="2002674615" sldId="6530"/>
            <ac:picMk id="9" creationId="{0F5C9962-8654-44C1-BA4F-B6C7F680CCF5}"/>
          </ac:picMkLst>
        </pc:picChg>
        <pc:picChg chg="add del">
          <ac:chgData name="Curtis Smith" userId="853fbcd611ad0f8e" providerId="LiveId" clId="{983DBE7F-926B-4ABA-81E4-B96B828DF227}" dt="2026-05-03T01:16:24.592" v="2098" actId="478"/>
          <ac:picMkLst>
            <pc:docMk/>
            <pc:sldMk cId="2002674615" sldId="6530"/>
            <ac:picMk id="11" creationId="{92A6C5D8-150B-43A6-BEF9-BDBDF57E954E}"/>
          </ac:picMkLst>
        </pc:picChg>
        <pc:picChg chg="add del mod">
          <ac:chgData name="Curtis Smith" userId="853fbcd611ad0f8e" providerId="LiveId" clId="{983DBE7F-926B-4ABA-81E4-B96B828DF227}" dt="2026-05-03T01:19:16.787" v="2101" actId="478"/>
          <ac:picMkLst>
            <pc:docMk/>
            <pc:sldMk cId="2002674615" sldId="6530"/>
            <ac:picMk id="13" creationId="{D6F78B8D-D4D7-48F2-8249-E7C7CE0DE040}"/>
          </ac:picMkLst>
        </pc:picChg>
        <pc:picChg chg="add mod">
          <ac:chgData name="Curtis Smith" userId="853fbcd611ad0f8e" providerId="LiveId" clId="{983DBE7F-926B-4ABA-81E4-B96B828DF227}" dt="2026-05-03T01:19:32.727" v="2105" actId="1076"/>
          <ac:picMkLst>
            <pc:docMk/>
            <pc:sldMk cId="2002674615" sldId="6530"/>
            <ac:picMk id="15" creationId="{B08B2FF3-7F49-4FC1-A2CF-20BB47FA8396}"/>
          </ac:picMkLst>
        </pc:picChg>
      </pc:sldChg>
      <pc:sldChg chg="modSp mod ord">
        <pc:chgData name="Curtis Smith" userId="853fbcd611ad0f8e" providerId="LiveId" clId="{983DBE7F-926B-4ABA-81E4-B96B828DF227}" dt="2026-05-03T00:04:37.192" v="802" actId="120"/>
        <pc:sldMkLst>
          <pc:docMk/>
          <pc:sldMk cId="1960926339" sldId="6531"/>
        </pc:sldMkLst>
        <pc:spChg chg="mod">
          <ac:chgData name="Curtis Smith" userId="853fbcd611ad0f8e" providerId="LiveId" clId="{983DBE7F-926B-4ABA-81E4-B96B828DF227}" dt="2026-05-03T00:04:37.192" v="802" actId="120"/>
          <ac:spMkLst>
            <pc:docMk/>
            <pc:sldMk cId="1960926339" sldId="6531"/>
            <ac:spMk id="3" creationId="{2C24B685-AFB2-4378-B833-13CF5E54B3B8}"/>
          </ac:spMkLst>
        </pc:spChg>
      </pc:sldChg>
      <pc:sldChg chg="addSp delSp modSp mod">
        <pc:chgData name="Curtis Smith" userId="853fbcd611ad0f8e" providerId="LiveId" clId="{983DBE7F-926B-4ABA-81E4-B96B828DF227}" dt="2026-05-13T16:10:37.977" v="2155" actId="403"/>
        <pc:sldMkLst>
          <pc:docMk/>
          <pc:sldMk cId="145791311" sldId="6532"/>
        </pc:sldMkLst>
        <pc:spChg chg="mod">
          <ac:chgData name="Curtis Smith" userId="853fbcd611ad0f8e" providerId="LiveId" clId="{983DBE7F-926B-4ABA-81E4-B96B828DF227}" dt="2026-05-13T16:10:37.977" v="2155" actId="403"/>
          <ac:spMkLst>
            <pc:docMk/>
            <pc:sldMk cId="145791311" sldId="6532"/>
            <ac:spMk id="6" creationId="{93F770C3-BBAF-41CA-B692-B090BE17C106}"/>
          </ac:spMkLst>
        </pc:spChg>
        <pc:spChg chg="del">
          <ac:chgData name="Curtis Smith" userId="853fbcd611ad0f8e" providerId="LiveId" clId="{983DBE7F-926B-4ABA-81E4-B96B828DF227}" dt="2026-05-03T00:29:02.692" v="1190" actId="478"/>
          <ac:spMkLst>
            <pc:docMk/>
            <pc:sldMk cId="145791311" sldId="6532"/>
            <ac:spMk id="7" creationId="{BD0BFE99-C9B2-4AEC-8DF4-DCD5404D4940}"/>
          </ac:spMkLst>
        </pc:spChg>
        <pc:spChg chg="del">
          <ac:chgData name="Curtis Smith" userId="853fbcd611ad0f8e" providerId="LiveId" clId="{983DBE7F-926B-4ABA-81E4-B96B828DF227}" dt="2026-05-03T00:29:03.645" v="1191" actId="478"/>
          <ac:spMkLst>
            <pc:docMk/>
            <pc:sldMk cId="145791311" sldId="6532"/>
            <ac:spMk id="8" creationId="{C0EA1A2E-FC44-4EEA-876A-8F8FF9C05726}"/>
          </ac:spMkLst>
        </pc:spChg>
        <pc:spChg chg="del">
          <ac:chgData name="Curtis Smith" userId="853fbcd611ad0f8e" providerId="LiveId" clId="{983DBE7F-926B-4ABA-81E4-B96B828DF227}" dt="2026-05-03T00:29:01.227" v="1189" actId="478"/>
          <ac:spMkLst>
            <pc:docMk/>
            <pc:sldMk cId="145791311" sldId="6532"/>
            <ac:spMk id="9" creationId="{82B5E2EE-C090-48B3-A428-D2153603E260}"/>
          </ac:spMkLst>
        </pc:spChg>
        <pc:picChg chg="add del">
          <ac:chgData name="Curtis Smith" userId="853fbcd611ad0f8e" providerId="LiveId" clId="{983DBE7F-926B-4ABA-81E4-B96B828DF227}" dt="2026-05-13T16:10:27.200" v="2153" actId="478"/>
          <ac:picMkLst>
            <pc:docMk/>
            <pc:sldMk cId="145791311" sldId="6532"/>
            <ac:picMk id="4" creationId="{27510CD2-3336-463A-B322-8B77CC444791}"/>
          </ac:picMkLst>
        </pc:picChg>
      </pc:sldChg>
      <pc:sldChg chg="ord">
        <pc:chgData name="Curtis Smith" userId="853fbcd611ad0f8e" providerId="LiveId" clId="{983DBE7F-926B-4ABA-81E4-B96B828DF227}" dt="2026-05-03T00:27:29.469" v="1177"/>
        <pc:sldMkLst>
          <pc:docMk/>
          <pc:sldMk cId="1857344237" sldId="6533"/>
        </pc:sldMkLst>
      </pc:sldChg>
      <pc:sldChg chg="del">
        <pc:chgData name="Curtis Smith" userId="853fbcd611ad0f8e" providerId="LiveId" clId="{983DBE7F-926B-4ABA-81E4-B96B828DF227}" dt="2026-05-03T00:26:20.067" v="1169" actId="47"/>
        <pc:sldMkLst>
          <pc:docMk/>
          <pc:sldMk cId="2489562446" sldId="6534"/>
        </pc:sldMkLst>
      </pc:sldChg>
      <pc:sldChg chg="del">
        <pc:chgData name="Curtis Smith" userId="853fbcd611ad0f8e" providerId="LiveId" clId="{983DBE7F-926B-4ABA-81E4-B96B828DF227}" dt="2026-05-02T14:05:55.583" v="203" actId="47"/>
        <pc:sldMkLst>
          <pc:docMk/>
          <pc:sldMk cId="558920367" sldId="6535"/>
        </pc:sldMkLst>
      </pc:sldChg>
      <pc:sldChg chg="del">
        <pc:chgData name="Curtis Smith" userId="853fbcd611ad0f8e" providerId="LiveId" clId="{983DBE7F-926B-4ABA-81E4-B96B828DF227}" dt="2026-05-02T14:06:09.901" v="207" actId="47"/>
        <pc:sldMkLst>
          <pc:docMk/>
          <pc:sldMk cId="2400424585" sldId="6536"/>
        </pc:sldMkLst>
      </pc:sldChg>
      <pc:sldChg chg="delSp modSp mod">
        <pc:chgData name="Curtis Smith" userId="853fbcd611ad0f8e" providerId="LiveId" clId="{983DBE7F-926B-4ABA-81E4-B96B828DF227}" dt="2026-05-13T16:07:51.264" v="2137" actId="207"/>
        <pc:sldMkLst>
          <pc:docMk/>
          <pc:sldMk cId="3303577926" sldId="6537"/>
        </pc:sldMkLst>
        <pc:spChg chg="mod">
          <ac:chgData name="Curtis Smith" userId="853fbcd611ad0f8e" providerId="LiveId" clId="{983DBE7F-926B-4ABA-81E4-B96B828DF227}" dt="2026-05-13T16:07:51.264" v="2137" actId="207"/>
          <ac:spMkLst>
            <pc:docMk/>
            <pc:sldMk cId="3303577926" sldId="6537"/>
            <ac:spMk id="6" creationId="{DD577396-39FE-47CA-BF30-6742D3B5C356}"/>
          </ac:spMkLst>
        </pc:spChg>
        <pc:picChg chg="del">
          <ac:chgData name="Curtis Smith" userId="853fbcd611ad0f8e" providerId="LiveId" clId="{983DBE7F-926B-4ABA-81E4-B96B828DF227}" dt="2026-05-13T16:07:22.244" v="2135" actId="478"/>
          <ac:picMkLst>
            <pc:docMk/>
            <pc:sldMk cId="3303577926" sldId="6537"/>
            <ac:picMk id="5" creationId="{2BB2939E-4869-49CD-9959-495D9CD67032}"/>
          </ac:picMkLst>
        </pc:picChg>
      </pc:sldChg>
      <pc:sldChg chg="del">
        <pc:chgData name="Curtis Smith" userId="853fbcd611ad0f8e" providerId="LiveId" clId="{983DBE7F-926B-4ABA-81E4-B96B828DF227}" dt="2026-05-02T14:05:15.737" v="197" actId="47"/>
        <pc:sldMkLst>
          <pc:docMk/>
          <pc:sldMk cId="1095483137" sldId="6538"/>
        </pc:sldMkLst>
      </pc:sldChg>
      <pc:sldChg chg="del">
        <pc:chgData name="Curtis Smith" userId="853fbcd611ad0f8e" providerId="LiveId" clId="{983DBE7F-926B-4ABA-81E4-B96B828DF227}" dt="2026-05-02T14:06:19.677" v="208" actId="47"/>
        <pc:sldMkLst>
          <pc:docMk/>
          <pc:sldMk cId="1160576655" sldId="6539"/>
        </pc:sldMkLst>
      </pc:sldChg>
      <pc:sldChg chg="addSp modSp mod ord">
        <pc:chgData name="Curtis Smith" userId="853fbcd611ad0f8e" providerId="LiveId" clId="{983DBE7F-926B-4ABA-81E4-B96B828DF227}" dt="2026-05-03T00:35:31.464" v="1417" actId="14100"/>
        <pc:sldMkLst>
          <pc:docMk/>
          <pc:sldMk cId="2535603628" sldId="6540"/>
        </pc:sldMkLst>
        <pc:spChg chg="ord">
          <ac:chgData name="Curtis Smith" userId="853fbcd611ad0f8e" providerId="LiveId" clId="{983DBE7F-926B-4ABA-81E4-B96B828DF227}" dt="2026-05-03T00:34:51.550" v="1411" actId="166"/>
          <ac:spMkLst>
            <pc:docMk/>
            <pc:sldMk cId="2535603628" sldId="6540"/>
            <ac:spMk id="6" creationId="{450D1EED-0D0F-4BC5-BF5A-4FD533E7D755}"/>
          </ac:spMkLst>
        </pc:spChg>
        <pc:picChg chg="add mod modCrop">
          <ac:chgData name="Curtis Smith" userId="853fbcd611ad0f8e" providerId="LiveId" clId="{983DBE7F-926B-4ABA-81E4-B96B828DF227}" dt="2026-05-03T00:35:31.464" v="1417" actId="14100"/>
          <ac:picMkLst>
            <pc:docMk/>
            <pc:sldMk cId="2535603628" sldId="6540"/>
            <ac:picMk id="7" creationId="{3D5A01F4-F0D3-43B8-8982-394DDA9BB1DC}"/>
          </ac:picMkLst>
        </pc:picChg>
        <pc:cxnChg chg="ord">
          <ac:chgData name="Curtis Smith" userId="853fbcd611ad0f8e" providerId="LiveId" clId="{983DBE7F-926B-4ABA-81E4-B96B828DF227}" dt="2026-05-03T00:34:46.137" v="1410" actId="166"/>
          <ac:cxnSpMkLst>
            <pc:docMk/>
            <pc:sldMk cId="2535603628" sldId="6540"/>
            <ac:cxnSpMk id="5" creationId="{7BBBCD1C-50D8-4BDA-863C-8CC774EFAB4A}"/>
          </ac:cxnSpMkLst>
        </pc:cxnChg>
      </pc:sldChg>
      <pc:sldChg chg="del">
        <pc:chgData name="Curtis Smith" userId="853fbcd611ad0f8e" providerId="LiveId" clId="{983DBE7F-926B-4ABA-81E4-B96B828DF227}" dt="2026-05-02T14:03:17.939" v="92" actId="47"/>
        <pc:sldMkLst>
          <pc:docMk/>
          <pc:sldMk cId="312829651" sldId="6542"/>
        </pc:sldMkLst>
      </pc:sldChg>
      <pc:sldChg chg="del">
        <pc:chgData name="Curtis Smith" userId="853fbcd611ad0f8e" providerId="LiveId" clId="{983DBE7F-926B-4ABA-81E4-B96B828DF227}" dt="2026-05-02T14:03:19.283" v="93" actId="47"/>
        <pc:sldMkLst>
          <pc:docMk/>
          <pc:sldMk cId="2293454918" sldId="6543"/>
        </pc:sldMkLst>
      </pc:sldChg>
      <pc:sldChg chg="modSp mod ord">
        <pc:chgData name="Curtis Smith" userId="853fbcd611ad0f8e" providerId="LiveId" clId="{983DBE7F-926B-4ABA-81E4-B96B828DF227}" dt="2026-05-03T01:02:47.096" v="1758" actId="20577"/>
        <pc:sldMkLst>
          <pc:docMk/>
          <pc:sldMk cId="3844549761" sldId="6544"/>
        </pc:sldMkLst>
        <pc:spChg chg="mod">
          <ac:chgData name="Curtis Smith" userId="853fbcd611ad0f8e" providerId="LiveId" clId="{983DBE7F-926B-4ABA-81E4-B96B828DF227}" dt="2026-05-03T01:02:47.096" v="1758" actId="20577"/>
          <ac:spMkLst>
            <pc:docMk/>
            <pc:sldMk cId="3844549761" sldId="6544"/>
            <ac:spMk id="3" creationId="{2C24B685-AFB2-4378-B833-13CF5E54B3B8}"/>
          </ac:spMkLst>
        </pc:spChg>
      </pc:sldChg>
      <pc:sldChg chg="addSp delSp modSp mod">
        <pc:chgData name="Curtis Smith" userId="853fbcd611ad0f8e" providerId="LiveId" clId="{983DBE7F-926B-4ABA-81E4-B96B828DF227}" dt="2026-05-13T16:08:57.852" v="2146" actId="14100"/>
        <pc:sldMkLst>
          <pc:docMk/>
          <pc:sldMk cId="278999696" sldId="6545"/>
        </pc:sldMkLst>
        <pc:spChg chg="mod">
          <ac:chgData name="Curtis Smith" userId="853fbcd611ad0f8e" providerId="LiveId" clId="{983DBE7F-926B-4ABA-81E4-B96B828DF227}" dt="2026-05-03T00:32:58.548" v="1403" actId="1076"/>
          <ac:spMkLst>
            <pc:docMk/>
            <pc:sldMk cId="278999696" sldId="6545"/>
            <ac:spMk id="7" creationId="{56A75AC9-77AC-4DCC-B437-8CEC17723AE1}"/>
          </ac:spMkLst>
        </pc:spChg>
        <pc:picChg chg="add mod ord">
          <ac:chgData name="Curtis Smith" userId="853fbcd611ad0f8e" providerId="LiveId" clId="{983DBE7F-926B-4ABA-81E4-B96B828DF227}" dt="2026-05-13T16:08:57.852" v="2146" actId="14100"/>
          <ac:picMkLst>
            <pc:docMk/>
            <pc:sldMk cId="278999696" sldId="6545"/>
            <ac:picMk id="4" creationId="{9BF5FF52-69FD-42C7-81D1-A10CC6B65034}"/>
          </ac:picMkLst>
        </pc:picChg>
        <pc:picChg chg="del mod">
          <ac:chgData name="Curtis Smith" userId="853fbcd611ad0f8e" providerId="LiveId" clId="{983DBE7F-926B-4ABA-81E4-B96B828DF227}" dt="2026-05-13T16:08:42.584" v="2141" actId="478"/>
          <ac:picMkLst>
            <pc:docMk/>
            <pc:sldMk cId="278999696" sldId="6545"/>
            <ac:picMk id="6" creationId="{DF9D2927-600D-41A5-B0FD-1CC93FD88DD2}"/>
          </ac:picMkLst>
        </pc:picChg>
      </pc:sldChg>
      <pc:sldChg chg="modSp mod">
        <pc:chgData name="Curtis Smith" userId="853fbcd611ad0f8e" providerId="LiveId" clId="{983DBE7F-926B-4ABA-81E4-B96B828DF227}" dt="2026-05-13T16:11:59.005" v="2167" actId="1037"/>
        <pc:sldMkLst>
          <pc:docMk/>
          <pc:sldMk cId="872892667" sldId="6546"/>
        </pc:sldMkLst>
        <pc:spChg chg="mod">
          <ac:chgData name="Curtis Smith" userId="853fbcd611ad0f8e" providerId="LiveId" clId="{983DBE7F-926B-4ABA-81E4-B96B828DF227}" dt="2026-05-13T16:11:59.005" v="2167" actId="1037"/>
          <ac:spMkLst>
            <pc:docMk/>
            <pc:sldMk cId="872892667" sldId="6546"/>
            <ac:spMk id="2" creationId="{A658FC76-D64D-43F2-8B03-9AE14BDC2CEF}"/>
          </ac:spMkLst>
        </pc:spChg>
        <pc:spChg chg="mod">
          <ac:chgData name="Curtis Smith" userId="853fbcd611ad0f8e" providerId="LiveId" clId="{983DBE7F-926B-4ABA-81E4-B96B828DF227}" dt="2026-05-03T01:02:56.185" v="1769" actId="20577"/>
          <ac:spMkLst>
            <pc:docMk/>
            <pc:sldMk cId="872892667" sldId="6546"/>
            <ac:spMk id="6" creationId="{162A716E-882E-4B06-B70F-98A9CF51B36B}"/>
          </ac:spMkLst>
        </pc:spChg>
      </pc:sldChg>
      <pc:sldChg chg="addSp delSp modSp add mod ord">
        <pc:chgData name="Curtis Smith" userId="853fbcd611ad0f8e" providerId="LiveId" clId="{983DBE7F-926B-4ABA-81E4-B96B828DF227}" dt="2026-05-03T00:10:52.537" v="811"/>
        <pc:sldMkLst>
          <pc:docMk/>
          <pc:sldMk cId="3931160934" sldId="6547"/>
        </pc:sldMkLst>
        <pc:spChg chg="mod">
          <ac:chgData name="Curtis Smith" userId="853fbcd611ad0f8e" providerId="LiveId" clId="{983DBE7F-926B-4ABA-81E4-B96B828DF227}" dt="2026-05-02T23:53:42.398" v="526" actId="20577"/>
          <ac:spMkLst>
            <pc:docMk/>
            <pc:sldMk cId="3931160934" sldId="6547"/>
            <ac:spMk id="3" creationId="{2C24B685-AFB2-4378-B833-13CF5E54B3B8}"/>
          </ac:spMkLst>
        </pc:spChg>
        <pc:spChg chg="add del mod">
          <ac:chgData name="Curtis Smith" userId="853fbcd611ad0f8e" providerId="LiveId" clId="{983DBE7F-926B-4ABA-81E4-B96B828DF227}" dt="2026-05-03T00:10:52.537" v="811"/>
          <ac:spMkLst>
            <pc:docMk/>
            <pc:sldMk cId="3931160934" sldId="6547"/>
            <ac:spMk id="4" creationId="{453640C0-CA6D-4F2F-A820-1AC1AF45ACAF}"/>
          </ac:spMkLst>
        </pc:spChg>
      </pc:sldChg>
      <pc:sldChg chg="addSp modSp new mod">
        <pc:chgData name="Curtis Smith" userId="853fbcd611ad0f8e" providerId="LiveId" clId="{983DBE7F-926B-4ABA-81E4-B96B828DF227}" dt="2026-05-03T01:20:23.556" v="2110" actId="6549"/>
        <pc:sldMkLst>
          <pc:docMk/>
          <pc:sldMk cId="1168256643" sldId="6548"/>
        </pc:sldMkLst>
        <pc:spChg chg="add mod">
          <ac:chgData name="Curtis Smith" userId="853fbcd611ad0f8e" providerId="LiveId" clId="{983DBE7F-926B-4ABA-81E4-B96B828DF227}" dt="2026-05-03T01:20:23.556" v="2110" actId="6549"/>
          <ac:spMkLst>
            <pc:docMk/>
            <pc:sldMk cId="1168256643" sldId="6548"/>
            <ac:spMk id="5" creationId="{3313142E-FAB3-4D8C-B819-125A9AF94190}"/>
          </ac:spMkLst>
        </pc:spChg>
        <pc:picChg chg="add mod modCrop">
          <ac:chgData name="Curtis Smith" userId="853fbcd611ad0f8e" providerId="LiveId" clId="{983DBE7F-926B-4ABA-81E4-B96B828DF227}" dt="2026-05-03T00:10:44.626" v="809" actId="1076"/>
          <ac:picMkLst>
            <pc:docMk/>
            <pc:sldMk cId="1168256643" sldId="6548"/>
            <ac:picMk id="4" creationId="{E33E5FB5-06A0-497B-A808-4943A13EB671}"/>
          </ac:picMkLst>
        </pc:picChg>
      </pc:sldChg>
      <pc:sldChg chg="addSp modSp new mod modClrScheme chgLayout">
        <pc:chgData name="Curtis Smith" userId="853fbcd611ad0f8e" providerId="LiveId" clId="{983DBE7F-926B-4ABA-81E4-B96B828DF227}" dt="2026-05-03T01:20:43.284" v="2111" actId="403"/>
        <pc:sldMkLst>
          <pc:docMk/>
          <pc:sldMk cId="1359770599" sldId="6549"/>
        </pc:sldMkLst>
        <pc:spChg chg="mod ord">
          <ac:chgData name="Curtis Smith" userId="853fbcd611ad0f8e" providerId="LiveId" clId="{983DBE7F-926B-4ABA-81E4-B96B828DF227}" dt="2026-05-03T00:19:03.112" v="1001" actId="700"/>
          <ac:spMkLst>
            <pc:docMk/>
            <pc:sldMk cId="1359770599" sldId="6549"/>
            <ac:spMk id="2" creationId="{730DABF1-35DA-41BF-B121-6B9E642846D3}"/>
          </ac:spMkLst>
        </pc:spChg>
        <pc:spChg chg="add mod ord">
          <ac:chgData name="Curtis Smith" userId="853fbcd611ad0f8e" providerId="LiveId" clId="{983DBE7F-926B-4ABA-81E4-B96B828DF227}" dt="2026-05-03T00:19:11.085" v="1015" actId="20577"/>
          <ac:spMkLst>
            <pc:docMk/>
            <pc:sldMk cId="1359770599" sldId="6549"/>
            <ac:spMk id="5" creationId="{3241D7DB-9420-462E-A4D7-DFA318BA0F6A}"/>
          </ac:spMkLst>
        </pc:spChg>
        <pc:spChg chg="add mod">
          <ac:chgData name="Curtis Smith" userId="853fbcd611ad0f8e" providerId="LiveId" clId="{983DBE7F-926B-4ABA-81E4-B96B828DF227}" dt="2026-05-03T01:20:43.284" v="2111" actId="403"/>
          <ac:spMkLst>
            <pc:docMk/>
            <pc:sldMk cId="1359770599" sldId="6549"/>
            <ac:spMk id="8" creationId="{57C6E029-761E-4AB7-93F7-BF25F699FFB2}"/>
          </ac:spMkLst>
        </pc:spChg>
        <pc:spChg chg="add mod">
          <ac:chgData name="Curtis Smith" userId="853fbcd611ad0f8e" providerId="LiveId" clId="{983DBE7F-926B-4ABA-81E4-B96B828DF227}" dt="2026-05-03T01:20:43.284" v="2111" actId="403"/>
          <ac:spMkLst>
            <pc:docMk/>
            <pc:sldMk cId="1359770599" sldId="6549"/>
            <ac:spMk id="9" creationId="{210C8A28-F23B-4FBB-B80F-66D6724156F6}"/>
          </ac:spMkLst>
        </pc:spChg>
        <pc:spChg chg="add mod">
          <ac:chgData name="Curtis Smith" userId="853fbcd611ad0f8e" providerId="LiveId" clId="{983DBE7F-926B-4ABA-81E4-B96B828DF227}" dt="2026-05-03T01:20:43.284" v="2111" actId="403"/>
          <ac:spMkLst>
            <pc:docMk/>
            <pc:sldMk cId="1359770599" sldId="6549"/>
            <ac:spMk id="10" creationId="{A132C47C-D235-401F-B52D-3705E703C10C}"/>
          </ac:spMkLst>
        </pc:spChg>
        <pc:picChg chg="add mod">
          <ac:chgData name="Curtis Smith" userId="853fbcd611ad0f8e" providerId="LiveId" clId="{983DBE7F-926B-4ABA-81E4-B96B828DF227}" dt="2026-05-03T00:21:24.890" v="1026" actId="14100"/>
          <ac:picMkLst>
            <pc:docMk/>
            <pc:sldMk cId="1359770599" sldId="6549"/>
            <ac:picMk id="4" creationId="{CA56AB50-755A-4CA3-BA35-3D9EE5583854}"/>
          </ac:picMkLst>
        </pc:picChg>
        <pc:picChg chg="add mod">
          <ac:chgData name="Curtis Smith" userId="853fbcd611ad0f8e" providerId="LiveId" clId="{983DBE7F-926B-4ABA-81E4-B96B828DF227}" dt="2026-05-03T00:20:38.867" v="1020" actId="1076"/>
          <ac:picMkLst>
            <pc:docMk/>
            <pc:sldMk cId="1359770599" sldId="6549"/>
            <ac:picMk id="7" creationId="{E9B897BF-0F6E-4089-80D3-CED0F94D1F30}"/>
          </ac:picMkLst>
        </pc:picChg>
      </pc:sldChg>
      <pc:sldChg chg="modSp add del mod">
        <pc:chgData name="Curtis Smith" userId="853fbcd611ad0f8e" providerId="LiveId" clId="{983DBE7F-926B-4ABA-81E4-B96B828DF227}" dt="2026-05-03T00:24:32.424" v="1145" actId="2696"/>
        <pc:sldMkLst>
          <pc:docMk/>
          <pc:sldMk cId="169987120" sldId="6550"/>
        </pc:sldMkLst>
        <pc:spChg chg="mod">
          <ac:chgData name="Curtis Smith" userId="853fbcd611ad0f8e" providerId="LiveId" clId="{983DBE7F-926B-4ABA-81E4-B96B828DF227}" dt="2026-05-03T00:24:28.690" v="1144" actId="20577"/>
          <ac:spMkLst>
            <pc:docMk/>
            <pc:sldMk cId="169987120" sldId="6550"/>
            <ac:spMk id="3" creationId="{2C24B685-AFB2-4378-B833-13CF5E54B3B8}"/>
          </ac:spMkLst>
        </pc:spChg>
      </pc:sldChg>
      <pc:sldChg chg="add del">
        <pc:chgData name="Curtis Smith" userId="853fbcd611ad0f8e" providerId="LiveId" clId="{983DBE7F-926B-4ABA-81E4-B96B828DF227}" dt="2026-05-03T00:25:17.577" v="1166" actId="47"/>
        <pc:sldMkLst>
          <pc:docMk/>
          <pc:sldMk cId="1693489894" sldId="6550"/>
        </pc:sldMkLst>
      </pc:sldChg>
      <pc:sldChg chg="addSp modSp new mod">
        <pc:chgData name="Curtis Smith" userId="853fbcd611ad0f8e" providerId="LiveId" clId="{983DBE7F-926B-4ABA-81E4-B96B828DF227}" dt="2026-05-03T00:47:56.707" v="1542" actId="14100"/>
        <pc:sldMkLst>
          <pc:docMk/>
          <pc:sldMk cId="2908386580" sldId="6550"/>
        </pc:sldMkLst>
        <pc:picChg chg="add mod">
          <ac:chgData name="Curtis Smith" userId="853fbcd611ad0f8e" providerId="LiveId" clId="{983DBE7F-926B-4ABA-81E4-B96B828DF227}" dt="2026-05-03T00:47:56.707" v="1542" actId="14100"/>
          <ac:picMkLst>
            <pc:docMk/>
            <pc:sldMk cId="2908386580" sldId="6550"/>
            <ac:picMk id="4" creationId="{46CAF7C3-066F-437A-B40D-43BA73D98635}"/>
          </ac:picMkLst>
        </pc:picChg>
      </pc:sldChg>
      <pc:sldChg chg="addSp delSp modSp new mod">
        <pc:chgData name="Curtis Smith" userId="853fbcd611ad0f8e" providerId="LiveId" clId="{983DBE7F-926B-4ABA-81E4-B96B828DF227}" dt="2026-05-03T01:00:25.234" v="1685" actId="1035"/>
        <pc:sldMkLst>
          <pc:docMk/>
          <pc:sldMk cId="2362275515" sldId="6551"/>
        </pc:sldMkLst>
        <pc:spChg chg="add mod">
          <ac:chgData name="Curtis Smith" userId="853fbcd611ad0f8e" providerId="LiveId" clId="{983DBE7F-926B-4ABA-81E4-B96B828DF227}" dt="2026-05-03T01:00:16.460" v="1680" actId="14100"/>
          <ac:spMkLst>
            <pc:docMk/>
            <pc:sldMk cId="2362275515" sldId="6551"/>
            <ac:spMk id="11" creationId="{90901C65-A04E-4EE9-8463-81679BD480EA}"/>
          </ac:spMkLst>
        </pc:spChg>
        <pc:picChg chg="add mod">
          <ac:chgData name="Curtis Smith" userId="853fbcd611ad0f8e" providerId="LiveId" clId="{983DBE7F-926B-4ABA-81E4-B96B828DF227}" dt="2026-05-03T01:00:25.234" v="1685" actId="1035"/>
          <ac:picMkLst>
            <pc:docMk/>
            <pc:sldMk cId="2362275515" sldId="6551"/>
            <ac:picMk id="4" creationId="{EEA8554F-DABC-4F7D-81BD-AFBB7AB73E13}"/>
          </ac:picMkLst>
        </pc:picChg>
        <pc:picChg chg="add del mod">
          <ac:chgData name="Curtis Smith" userId="853fbcd611ad0f8e" providerId="LiveId" clId="{983DBE7F-926B-4ABA-81E4-B96B828DF227}" dt="2026-05-03T00:57:37.869" v="1547" actId="478"/>
          <ac:picMkLst>
            <pc:docMk/>
            <pc:sldMk cId="2362275515" sldId="6551"/>
            <ac:picMk id="6" creationId="{56F04EE7-D382-4320-944F-34CAEE5A97C5}"/>
          </ac:picMkLst>
        </pc:picChg>
        <pc:picChg chg="add del mod">
          <ac:chgData name="Curtis Smith" userId="853fbcd611ad0f8e" providerId="LiveId" clId="{983DBE7F-926B-4ABA-81E4-B96B828DF227}" dt="2026-05-03T00:58:49.615" v="1576" actId="478"/>
          <ac:picMkLst>
            <pc:docMk/>
            <pc:sldMk cId="2362275515" sldId="6551"/>
            <ac:picMk id="8" creationId="{C704606C-169D-4604-8BAC-7EDB8ADE7942}"/>
          </ac:picMkLst>
        </pc:picChg>
        <pc:picChg chg="add del mod">
          <ac:chgData name="Curtis Smith" userId="853fbcd611ad0f8e" providerId="LiveId" clId="{983DBE7F-926B-4ABA-81E4-B96B828DF227}" dt="2026-05-03T00:58:47.389" v="1574" actId="478"/>
          <ac:picMkLst>
            <pc:docMk/>
            <pc:sldMk cId="2362275515" sldId="6551"/>
            <ac:picMk id="10" creationId="{09C7772F-076C-4D9C-834F-58D1D36F0540}"/>
          </ac:picMkLst>
        </pc:picChg>
      </pc:sldChg>
      <pc:sldChg chg="addSp delSp modSp add mod">
        <pc:chgData name="Curtis Smith" userId="853fbcd611ad0f8e" providerId="LiveId" clId="{983DBE7F-926B-4ABA-81E4-B96B828DF227}" dt="2026-05-03T01:01:10.878" v="1735" actId="403"/>
        <pc:sldMkLst>
          <pc:docMk/>
          <pc:sldMk cId="1728774644" sldId="6552"/>
        </pc:sldMkLst>
        <pc:spChg chg="add mod">
          <ac:chgData name="Curtis Smith" userId="853fbcd611ad0f8e" providerId="LiveId" clId="{983DBE7F-926B-4ABA-81E4-B96B828DF227}" dt="2026-05-03T01:01:10.878" v="1735" actId="403"/>
          <ac:spMkLst>
            <pc:docMk/>
            <pc:sldMk cId="1728774644" sldId="6552"/>
            <ac:spMk id="3" creationId="{35972C5D-CB13-435A-893E-5E24354D3680}"/>
          </ac:spMkLst>
        </pc:spChg>
        <pc:picChg chg="del">
          <ac:chgData name="Curtis Smith" userId="853fbcd611ad0f8e" providerId="LiveId" clId="{983DBE7F-926B-4ABA-81E4-B96B828DF227}" dt="2026-05-03T00:57:51.572" v="1552" actId="478"/>
          <ac:picMkLst>
            <pc:docMk/>
            <pc:sldMk cId="1728774644" sldId="6552"/>
            <ac:picMk id="4" creationId="{EEA8554F-DABC-4F7D-81BD-AFBB7AB73E13}"/>
          </ac:picMkLst>
        </pc:picChg>
        <pc:picChg chg="mod">
          <ac:chgData name="Curtis Smith" userId="853fbcd611ad0f8e" providerId="LiveId" clId="{983DBE7F-926B-4ABA-81E4-B96B828DF227}" dt="2026-05-03T00:58:37.209" v="1573" actId="1076"/>
          <ac:picMkLst>
            <pc:docMk/>
            <pc:sldMk cId="1728774644" sldId="6552"/>
            <ac:picMk id="8" creationId="{C704606C-169D-4604-8BAC-7EDB8ADE7942}"/>
          </ac:picMkLst>
        </pc:picChg>
        <pc:picChg chg="mod">
          <ac:chgData name="Curtis Smith" userId="853fbcd611ad0f8e" providerId="LiveId" clId="{983DBE7F-926B-4ABA-81E4-B96B828DF227}" dt="2026-05-03T00:58:33.990" v="1572" actId="1076"/>
          <ac:picMkLst>
            <pc:docMk/>
            <pc:sldMk cId="1728774644" sldId="6552"/>
            <ac:picMk id="10" creationId="{09C7772F-076C-4D9C-834F-58D1D36F0540}"/>
          </ac:picMkLst>
        </pc:picChg>
      </pc:sldChg>
      <pc:sldChg chg="modSp new mod">
        <pc:chgData name="Curtis Smith" userId="853fbcd611ad0f8e" providerId="LiveId" clId="{983DBE7F-926B-4ABA-81E4-B96B828DF227}" dt="2026-05-13T16:05:52.578" v="2129" actId="15"/>
        <pc:sldMkLst>
          <pc:docMk/>
          <pc:sldMk cId="2639832347" sldId="6553"/>
        </pc:sldMkLst>
        <pc:spChg chg="mod">
          <ac:chgData name="Curtis Smith" userId="853fbcd611ad0f8e" providerId="LiveId" clId="{983DBE7F-926B-4ABA-81E4-B96B828DF227}" dt="2026-05-03T01:05:36.870" v="1797" actId="20577"/>
          <ac:spMkLst>
            <pc:docMk/>
            <pc:sldMk cId="2639832347" sldId="6553"/>
            <ac:spMk id="2" creationId="{7726FB37-706B-4726-926F-05CEAA752B7C}"/>
          </ac:spMkLst>
        </pc:spChg>
        <pc:spChg chg="mod">
          <ac:chgData name="Curtis Smith" userId="853fbcd611ad0f8e" providerId="LiveId" clId="{983DBE7F-926B-4ABA-81E4-B96B828DF227}" dt="2026-05-13T16:05:52.578" v="2129" actId="15"/>
          <ac:spMkLst>
            <pc:docMk/>
            <pc:sldMk cId="2639832347" sldId="6553"/>
            <ac:spMk id="3" creationId="{8D807A37-2D3B-454C-BAEF-3A6B8ADE601D}"/>
          </ac:spMkLst>
        </pc:spChg>
      </pc:sldChg>
      <pc:sldChg chg="delSp modSp add del mod">
        <pc:chgData name="Curtis Smith" userId="853fbcd611ad0f8e" providerId="LiveId" clId="{983DBE7F-926B-4ABA-81E4-B96B828DF227}" dt="2026-05-13T16:09:02.543" v="2147" actId="2696"/>
        <pc:sldMkLst>
          <pc:docMk/>
          <pc:sldMk cId="3773228794" sldId="6554"/>
        </pc:sldMkLst>
        <pc:spChg chg="del">
          <ac:chgData name="Curtis Smith" userId="853fbcd611ad0f8e" providerId="LiveId" clId="{983DBE7F-926B-4ABA-81E4-B96B828DF227}" dt="2026-05-13T16:08:20.729" v="2139" actId="478"/>
          <ac:spMkLst>
            <pc:docMk/>
            <pc:sldMk cId="3773228794" sldId="6554"/>
            <ac:spMk id="7" creationId="{56A75AC9-77AC-4DCC-B437-8CEC17723AE1}"/>
          </ac:spMkLst>
        </pc:spChg>
        <pc:picChg chg="mod">
          <ac:chgData name="Curtis Smith" userId="853fbcd611ad0f8e" providerId="LiveId" clId="{983DBE7F-926B-4ABA-81E4-B96B828DF227}" dt="2026-05-13T16:08:24.779" v="2140" actId="14100"/>
          <ac:picMkLst>
            <pc:docMk/>
            <pc:sldMk cId="3773228794" sldId="6554"/>
            <ac:picMk id="6" creationId="{DF9D2927-600D-41A5-B0FD-1CC93FD88DD2}"/>
          </ac:picMkLst>
        </pc:picChg>
      </pc:sldChg>
      <pc:sldMasterChg chg="addSp modSp mod">
        <pc:chgData name="Curtis Smith" userId="853fbcd611ad0f8e" providerId="LiveId" clId="{983DBE7F-926B-4ABA-81E4-B96B828DF227}" dt="2026-05-02T14:00:37.012" v="3" actId="1076"/>
        <pc:sldMasterMkLst>
          <pc:docMk/>
          <pc:sldMasterMk cId="1507781997" sldId="2147483683"/>
        </pc:sldMasterMkLst>
        <pc:picChg chg="add mod">
          <ac:chgData name="Curtis Smith" userId="853fbcd611ad0f8e" providerId="LiveId" clId="{983DBE7F-926B-4ABA-81E4-B96B828DF227}" dt="2026-05-02T14:00:37.012" v="3" actId="1076"/>
          <ac:picMkLst>
            <pc:docMk/>
            <pc:sldMasterMk cId="1507781997" sldId="2147483683"/>
            <ac:picMk id="10" creationId="{424D6016-ED34-4EF7-8824-D59F9B287829}"/>
          </ac:picMkLst>
        </pc:picChg>
      </pc:sldMasterChg>
    </pc:docChg>
  </pc:docChgLst>
  <pc:docChgLst>
    <pc:chgData name="Curtis Smith" userId="853fbcd611ad0f8e" providerId="LiveId" clId="{79D5096D-7AA8-46DB-ADD7-00C61D078B25}"/>
    <pc:docChg chg="undo custSel addSld delSld modSld sldOrd modMainMaster">
      <pc:chgData name="Curtis Smith" userId="853fbcd611ad0f8e" providerId="LiveId" clId="{79D5096D-7AA8-46DB-ADD7-00C61D078B25}" dt="2026-04-03T14:56:52.415" v="8213" actId="20577"/>
      <pc:docMkLst>
        <pc:docMk/>
      </pc:docMkLst>
      <pc:sldChg chg="addSp delSp modSp mod">
        <pc:chgData name="Curtis Smith" userId="853fbcd611ad0f8e" providerId="LiveId" clId="{79D5096D-7AA8-46DB-ADD7-00C61D078B25}" dt="2026-04-03T13:32:25.509" v="8093"/>
        <pc:sldMkLst>
          <pc:docMk/>
          <pc:sldMk cId="1723685364" sldId="257"/>
        </pc:sldMkLst>
        <pc:spChg chg="mod">
          <ac:chgData name="Curtis Smith" userId="853fbcd611ad0f8e" providerId="LiveId" clId="{79D5096D-7AA8-46DB-ADD7-00C61D078B25}" dt="2026-04-03T03:57:00.524" v="7091" actId="207"/>
          <ac:spMkLst>
            <pc:docMk/>
            <pc:sldMk cId="1723685364" sldId="257"/>
            <ac:spMk id="2" creationId="{00000000-0000-0000-0000-000000000000}"/>
          </ac:spMkLst>
        </pc:sp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723685364" sldId="257"/>
            <ac:cxnSpMk id="3" creationId="{C972C8EE-0397-4470-ADA7-77F02F398B40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723685364" sldId="257"/>
            <ac:cxnSpMk id="6" creationId="{71CE33B9-195A-4CF9-BE9A-B3BCD6F53089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723685364" sldId="257"/>
            <ac:cxnSpMk id="8" creationId="{92776786-FD91-4F33-9EA0-3CA4E39E19AC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723685364" sldId="257"/>
            <ac:cxnSpMk id="9" creationId="{336218F2-CCF8-4295-9C16-95653093EF06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723685364" sldId="257"/>
            <ac:cxnSpMk id="12" creationId="{9D5A846D-B567-4BBD-833B-B54956AAA79C}"/>
          </ac:cxnSpMkLst>
        </pc:cxnChg>
      </pc:sldChg>
      <pc:sldChg chg="del">
        <pc:chgData name="Curtis Smith" userId="853fbcd611ad0f8e" providerId="LiveId" clId="{79D5096D-7AA8-46DB-ADD7-00C61D078B25}" dt="2026-03-31T14:31:19.065" v="17" actId="47"/>
        <pc:sldMkLst>
          <pc:docMk/>
          <pc:sldMk cId="3669939796" sldId="258"/>
        </pc:sldMkLst>
      </pc:sldChg>
      <pc:sldChg chg="del">
        <pc:chgData name="Curtis Smith" userId="853fbcd611ad0f8e" providerId="LiveId" clId="{79D5096D-7AA8-46DB-ADD7-00C61D078B25}" dt="2026-04-01T20:45:21.107" v="1473" actId="47"/>
        <pc:sldMkLst>
          <pc:docMk/>
          <pc:sldMk cId="4232412771" sldId="259"/>
        </pc:sldMkLst>
      </pc:sldChg>
      <pc:sldChg chg="del">
        <pc:chgData name="Curtis Smith" userId="853fbcd611ad0f8e" providerId="LiveId" clId="{79D5096D-7AA8-46DB-ADD7-00C61D078B25}" dt="2026-04-01T20:46:01.284" v="1474" actId="47"/>
        <pc:sldMkLst>
          <pc:docMk/>
          <pc:sldMk cId="2206802216" sldId="262"/>
        </pc:sldMkLst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2146775711" sldId="265"/>
        </pc:sldMkLst>
        <pc:spChg chg="mod ord">
          <ac:chgData name="Curtis Smith" userId="853fbcd611ad0f8e" providerId="LiveId" clId="{79D5096D-7AA8-46DB-ADD7-00C61D078B25}" dt="2026-04-01T21:08:28.597" v="1786" actId="700"/>
          <ac:spMkLst>
            <pc:docMk/>
            <pc:sldMk cId="2146775711" sldId="265"/>
            <ac:spMk id="4" creationId="{00000000-0000-0000-0000-000000000000}"/>
          </ac:spMkLst>
        </pc:spChg>
        <pc:spChg chg="mod ord">
          <ac:chgData name="Curtis Smith" userId="853fbcd611ad0f8e" providerId="LiveId" clId="{79D5096D-7AA8-46DB-ADD7-00C61D078B25}" dt="2026-04-02T01:43:42.123" v="2708" actId="207"/>
          <ac:spMkLst>
            <pc:docMk/>
            <pc:sldMk cId="2146775711" sldId="265"/>
            <ac:spMk id="5" creationId="{00000000-0000-0000-0000-000000000000}"/>
          </ac:spMkLst>
        </pc:spChg>
        <pc:picChg chg="mod">
          <ac:chgData name="Curtis Smith" userId="853fbcd611ad0f8e" providerId="LiveId" clId="{79D5096D-7AA8-46DB-ADD7-00C61D078B25}" dt="2026-04-02T01:43:15.874" v="2701" actId="1076"/>
          <ac:picMkLst>
            <pc:docMk/>
            <pc:sldMk cId="2146775711" sldId="265"/>
            <ac:picMk id="2052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146775711" sldId="265"/>
            <ac:cxnSpMk id="2" creationId="{2610612A-7C4C-4B05-94AF-29BDAB56E89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146775711" sldId="265"/>
            <ac:cxnSpMk id="3" creationId="{822D7D16-42CE-4AD2-8E81-FE0E13CC07F1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146775711" sldId="265"/>
            <ac:cxnSpMk id="6" creationId="{0972D47F-115F-4A46-AB66-1F25BC7DB23E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146775711" sldId="265"/>
            <ac:cxnSpMk id="7" creationId="{75E4B85F-5C55-4310-9509-5C0B0BD3194A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146775711" sldId="265"/>
            <ac:cxnSpMk id="8" creationId="{825E9D65-97CB-409B-922B-37D457DE2984}"/>
          </ac:cxnSpMkLst>
        </pc:cxnChg>
      </pc:sldChg>
      <pc:sldChg chg="modSp del">
        <pc:chgData name="Curtis Smith" userId="853fbcd611ad0f8e" providerId="LiveId" clId="{79D5096D-7AA8-46DB-ADD7-00C61D078B25}" dt="2026-04-02T01:40:33.033" v="2658" actId="47"/>
        <pc:sldMkLst>
          <pc:docMk/>
          <pc:sldMk cId="2493495661" sldId="268"/>
        </pc:sldMkLst>
        <pc:picChg chg="mod">
          <ac:chgData name="Curtis Smith" userId="853fbcd611ad0f8e" providerId="LiveId" clId="{79D5096D-7AA8-46DB-ADD7-00C61D078B25}" dt="2026-04-02T01:36:49.556" v="2628" actId="1076"/>
          <ac:picMkLst>
            <pc:docMk/>
            <pc:sldMk cId="2493495661" sldId="268"/>
            <ac:picMk id="4098" creationId="{00000000-0000-0000-0000-000000000000}"/>
          </ac:picMkLst>
        </pc:picChg>
      </pc:sldChg>
      <pc:sldChg chg="del">
        <pc:chgData name="Curtis Smith" userId="853fbcd611ad0f8e" providerId="LiveId" clId="{79D5096D-7AA8-46DB-ADD7-00C61D078B25}" dt="2026-04-02T01:40:36.775" v="2659" actId="47"/>
        <pc:sldMkLst>
          <pc:docMk/>
          <pc:sldMk cId="4077483526" sldId="269"/>
        </pc:sldMkLst>
      </pc:sldChg>
      <pc:sldChg chg="addSp delSp modSp mod">
        <pc:chgData name="Curtis Smith" userId="853fbcd611ad0f8e" providerId="LiveId" clId="{79D5096D-7AA8-46DB-ADD7-00C61D078B25}" dt="2026-04-03T13:32:25.509" v="8093"/>
        <pc:sldMkLst>
          <pc:docMk/>
          <pc:sldMk cId="3108322460" sldId="277"/>
        </pc:sldMkLst>
        <pc:picChg chg="mod">
          <ac:chgData name="Curtis Smith" userId="853fbcd611ad0f8e" providerId="LiveId" clId="{79D5096D-7AA8-46DB-ADD7-00C61D078B25}" dt="2026-04-01T21:17:57.177" v="1956" actId="14100"/>
          <ac:picMkLst>
            <pc:docMk/>
            <pc:sldMk cId="3108322460" sldId="277"/>
            <ac:picMk id="3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3108322460" sldId="277"/>
            <ac:cxnSpMk id="2" creationId="{66005770-412B-4D14-8674-514DD6AC6B45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3108322460" sldId="277"/>
            <ac:cxnSpMk id="5" creationId="{7AB0DF27-63D9-47CD-B3E2-EBC39A6AC65A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3108322460" sldId="277"/>
            <ac:cxnSpMk id="6" creationId="{9339A80C-2DD5-45A3-AEDE-4F19A1644B89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108322460" sldId="277"/>
            <ac:cxnSpMk id="7" creationId="{0EE67282-57A3-47D9-A3AC-2D349988DF89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108322460" sldId="277"/>
            <ac:cxnSpMk id="8" creationId="{62D6CF1D-FA15-4024-86DA-4C5335FBF6EF}"/>
          </ac:cxnSpMkLst>
        </pc:cxnChg>
      </pc:sldChg>
      <pc:sldChg chg="addSp delSp modSp mod">
        <pc:chgData name="Curtis Smith" userId="853fbcd611ad0f8e" providerId="LiveId" clId="{79D5096D-7AA8-46DB-ADD7-00C61D078B25}" dt="2026-04-03T13:32:25.509" v="8093"/>
        <pc:sldMkLst>
          <pc:docMk/>
          <pc:sldMk cId="4024632269" sldId="280"/>
        </pc:sldMkLst>
        <pc:spChg chg="mod">
          <ac:chgData name="Curtis Smith" userId="853fbcd611ad0f8e" providerId="LiveId" clId="{79D5096D-7AA8-46DB-ADD7-00C61D078B25}" dt="2026-04-02T01:45:55.519" v="2759" actId="27636"/>
          <ac:spMkLst>
            <pc:docMk/>
            <pc:sldMk cId="4024632269" sldId="280"/>
            <ac:spMk id="2" creationId="{00000000-0000-0000-0000-000000000000}"/>
          </ac:spMkLst>
        </pc:spChg>
        <pc:spChg chg="mod">
          <ac:chgData name="Curtis Smith" userId="853fbcd611ad0f8e" providerId="LiveId" clId="{79D5096D-7AA8-46DB-ADD7-00C61D078B25}" dt="2026-04-01T21:21:11.368" v="2043" actId="6549"/>
          <ac:spMkLst>
            <pc:docMk/>
            <pc:sldMk cId="4024632269" sldId="280"/>
            <ac:spMk id="3" creationId="{00000000-0000-0000-0000-000000000000}"/>
          </ac:spMkLst>
        </pc:spChg>
        <pc:spChg chg="add del mod">
          <ac:chgData name="Curtis Smith" userId="853fbcd611ad0f8e" providerId="LiveId" clId="{79D5096D-7AA8-46DB-ADD7-00C61D078B25}" dt="2026-04-02T02:49:18.574" v="4322"/>
          <ac:spMkLst>
            <pc:docMk/>
            <pc:sldMk cId="4024632269" sldId="280"/>
            <ac:spMk id="9" creationId="{D8106531-0A99-47E6-B392-624DC9ACDC2D}"/>
          </ac:spMkLst>
        </pc:spChg>
        <pc:spChg chg="add del mod">
          <ac:chgData name="Curtis Smith" userId="853fbcd611ad0f8e" providerId="LiveId" clId="{79D5096D-7AA8-46DB-ADD7-00C61D078B25}" dt="2026-04-02T16:29:55.952" v="5187"/>
          <ac:spMkLst>
            <pc:docMk/>
            <pc:sldMk cId="4024632269" sldId="280"/>
            <ac:spMk id="11" creationId="{25804F57-74CF-438C-B94E-50208BD130B8}"/>
          </ac:spMkLst>
        </pc:spChg>
        <pc:spChg chg="add del mod">
          <ac:chgData name="Curtis Smith" userId="853fbcd611ad0f8e" providerId="LiveId" clId="{79D5096D-7AA8-46DB-ADD7-00C61D078B25}" dt="2026-04-02T20:36:19.841" v="6115"/>
          <ac:spMkLst>
            <pc:docMk/>
            <pc:sldMk cId="4024632269" sldId="280"/>
            <ac:spMk id="13" creationId="{9F3EAC1E-387F-4A16-B9E6-D86BD57470CD}"/>
          </ac:spMkLst>
        </pc:spChg>
        <pc:spChg chg="add del mod">
          <ac:chgData name="Curtis Smith" userId="853fbcd611ad0f8e" providerId="LiveId" clId="{79D5096D-7AA8-46DB-ADD7-00C61D078B25}" dt="2026-04-03T01:15:19.298" v="7036"/>
          <ac:spMkLst>
            <pc:docMk/>
            <pc:sldMk cId="4024632269" sldId="280"/>
            <ac:spMk id="15" creationId="{0CA277AA-2A67-4951-813F-68EE0B049DA5}"/>
          </ac:spMkLst>
        </pc:spChg>
        <pc:spChg chg="add del mod">
          <ac:chgData name="Curtis Smith" userId="853fbcd611ad0f8e" providerId="LiveId" clId="{79D5096D-7AA8-46DB-ADD7-00C61D078B25}" dt="2026-04-03T13:32:25.509" v="8093"/>
          <ac:spMkLst>
            <pc:docMk/>
            <pc:sldMk cId="4024632269" sldId="280"/>
            <ac:spMk id="17" creationId="{4EF13256-9805-47CD-8704-B3021C74AF72}"/>
          </ac:spMkLst>
        </pc:spChg>
        <pc:picChg chg="mod">
          <ac:chgData name="Curtis Smith" userId="853fbcd611ad0f8e" providerId="LiveId" clId="{79D5096D-7AA8-46DB-ADD7-00C61D078B25}" dt="2026-04-01T21:18:14.186" v="1959" actId="1076"/>
          <ac:picMkLst>
            <pc:docMk/>
            <pc:sldMk cId="4024632269" sldId="280"/>
            <ac:picMk id="3074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4024632269" sldId="280"/>
            <ac:cxnSpMk id="5" creationId="{1C123EF4-7A1C-4B25-9504-100F4C8A2FBD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4024632269" sldId="280"/>
            <ac:cxnSpMk id="10" creationId="{12E5C42A-FCC6-49E2-89B1-82A515B8BDE0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4024632269" sldId="280"/>
            <ac:cxnSpMk id="12" creationId="{50EEBD57-E92B-4932-A410-A9D21E72C5E0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4024632269" sldId="280"/>
            <ac:cxnSpMk id="14" creationId="{D7D327E9-C4CE-47B5-8BFB-AAC0549B6FAB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4024632269" sldId="280"/>
            <ac:cxnSpMk id="16" creationId="{53485278-A0F4-4480-9B57-00581EC1D5C0}"/>
          </ac:cxnSpMkLst>
        </pc:cxnChg>
      </pc:sldChg>
      <pc:sldChg chg="addSp delSp modSp del mod chgLayout">
        <pc:chgData name="Curtis Smith" userId="853fbcd611ad0f8e" providerId="LiveId" clId="{79D5096D-7AA8-46DB-ADD7-00C61D078B25}" dt="2026-03-31T16:58:11.807" v="1046" actId="47"/>
        <pc:sldMkLst>
          <pc:docMk/>
          <pc:sldMk cId="0" sldId="310"/>
        </pc:sldMkLst>
        <pc:spChg chg="add del mo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2" creationId="{87F23535-6F04-414D-9CC2-7296AA66CFA5}"/>
          </ac:spMkLst>
        </pc:spChg>
        <pc:spChg chg="add del mo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3" creationId="{26B9ED1D-AFAA-42B4-B10E-2C9881437C70}"/>
          </ac:spMkLst>
        </pc:spChg>
        <pc:spChg chg="add del mo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4" creationId="{5CB9381F-0B74-48AA-989D-E5C263581847}"/>
          </ac:spMkLst>
        </pc:spChg>
        <pc:spChg chg="mod or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8" creationId="{8F4F1047-5A69-40F3-B796-EC4BC6589F0F}"/>
          </ac:spMkLst>
        </pc:spChg>
        <pc:spChg chg="mod or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2597890" creationId="{00000000-0000-0000-0000-000000000000}"/>
          </ac:spMkLst>
        </pc:spChg>
        <pc:spChg chg="mod ord">
          <ac:chgData name="Curtis Smith" userId="853fbcd611ad0f8e" providerId="LiveId" clId="{79D5096D-7AA8-46DB-ADD7-00C61D078B25}" dt="2026-03-31T16:52:39.141" v="986" actId="6264"/>
          <ac:spMkLst>
            <pc:docMk/>
            <pc:sldMk cId="0" sldId="310"/>
            <ac:spMk id="2597891" creationId="{00000000-0000-0000-0000-000000000000}"/>
          </ac:spMkLst>
        </pc:spChg>
      </pc:sldChg>
      <pc:sldChg chg="del ord">
        <pc:chgData name="Curtis Smith" userId="853fbcd611ad0f8e" providerId="LiveId" clId="{79D5096D-7AA8-46DB-ADD7-00C61D078B25}" dt="2026-04-01T20:53:10.906" v="1479" actId="47"/>
        <pc:sldMkLst>
          <pc:docMk/>
          <pc:sldMk cId="2142998134" sldId="317"/>
        </pc:sldMkLst>
      </pc:sldChg>
      <pc:sldChg chg="addSp delSp modSp mod ord modClrScheme chgLayout">
        <pc:chgData name="Curtis Smith" userId="853fbcd611ad0f8e" providerId="LiveId" clId="{79D5096D-7AA8-46DB-ADD7-00C61D078B25}" dt="2026-04-03T13:32:25.509" v="8093"/>
        <pc:sldMkLst>
          <pc:docMk/>
          <pc:sldMk cId="2317986175" sldId="319"/>
        </pc:sldMkLst>
        <pc:spChg chg="mod ord">
          <ac:chgData name="Curtis Smith" userId="853fbcd611ad0f8e" providerId="LiveId" clId="{79D5096D-7AA8-46DB-ADD7-00C61D078B25}" dt="2026-04-01T22:37:06.785" v="2114" actId="207"/>
          <ac:spMkLst>
            <pc:docMk/>
            <pc:sldMk cId="2317986175" sldId="319"/>
            <ac:spMk id="2" creationId="{FFF985AA-12D6-4371-AD2C-02205B205718}"/>
          </ac:spMkLst>
        </pc:spChg>
        <pc:spChg chg="del mod ord">
          <ac:chgData name="Curtis Smith" userId="853fbcd611ad0f8e" providerId="LiveId" clId="{79D5096D-7AA8-46DB-ADD7-00C61D078B25}" dt="2026-03-31T17:17:26.405" v="1165" actId="478"/>
          <ac:spMkLst>
            <pc:docMk/>
            <pc:sldMk cId="2317986175" sldId="319"/>
            <ac:spMk id="3" creationId="{A079481C-0FC9-4CE1-B8C4-2D3279E1FD2B}"/>
          </ac:spMkLst>
        </pc:spChg>
        <pc:spChg chg="add mod">
          <ac:chgData name="Curtis Smith" userId="853fbcd611ad0f8e" providerId="LiveId" clId="{79D5096D-7AA8-46DB-ADD7-00C61D078B25}" dt="2026-04-02T02:28:56.329" v="3299" actId="20577"/>
          <ac:spMkLst>
            <pc:docMk/>
            <pc:sldMk cId="2317986175" sldId="319"/>
            <ac:spMk id="6" creationId="{553CF743-3898-4A77-925A-116D48FFA21B}"/>
          </ac:spMkLst>
        </pc:spChg>
        <pc:spChg chg="mod ord">
          <ac:chgData name="Curtis Smith" userId="853fbcd611ad0f8e" providerId="LiveId" clId="{79D5096D-7AA8-46DB-ADD7-00C61D078B25}" dt="2026-04-01T22:36:13.102" v="2054" actId="700"/>
          <ac:spMkLst>
            <pc:docMk/>
            <pc:sldMk cId="2317986175" sldId="319"/>
            <ac:spMk id="7" creationId="{38E35D4D-BA60-40B9-93AF-EE32E306C7D7}"/>
          </ac:spMkLst>
        </pc:spChg>
        <pc:spChg chg="add mod">
          <ac:chgData name="Curtis Smith" userId="853fbcd611ad0f8e" providerId="LiveId" clId="{79D5096D-7AA8-46DB-ADD7-00C61D078B25}" dt="2026-03-31T17:26:11.168" v="1245" actId="6549"/>
          <ac:spMkLst>
            <pc:docMk/>
            <pc:sldMk cId="2317986175" sldId="319"/>
            <ac:spMk id="8" creationId="{17BFA95B-4144-4E20-9D34-42FC49B2FCA7}"/>
          </ac:spMkLst>
        </pc:spChg>
        <pc:picChg chg="mod">
          <ac:chgData name="Curtis Smith" userId="853fbcd611ad0f8e" providerId="LiveId" clId="{79D5096D-7AA8-46DB-ADD7-00C61D078B25}" dt="2026-04-01T22:36:30.925" v="2057" actId="1076"/>
          <ac:picMkLst>
            <pc:docMk/>
            <pc:sldMk cId="2317986175" sldId="319"/>
            <ac:picMk id="2052" creationId="{147A6229-0983-487C-BBA2-9A3012D42EAD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317986175" sldId="319"/>
            <ac:cxnSpMk id="3" creationId="{4D0E4596-B97B-4867-AACE-F81A62E0E7A5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317986175" sldId="319"/>
            <ac:cxnSpMk id="4" creationId="{C6854F5F-C680-45B6-8373-060DFCBF00E6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317986175" sldId="319"/>
            <ac:cxnSpMk id="5" creationId="{791EC3B4-11D4-4826-A2E2-35D1F5503833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317986175" sldId="319"/>
            <ac:cxnSpMk id="9" creationId="{1D3DBFA6-0D6B-4E9B-BB27-770F8E46B4AF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317986175" sldId="319"/>
            <ac:cxnSpMk id="10" creationId="{4147B747-1F2A-4639-AEB9-C507D5BC2970}"/>
          </ac:cxnSpMkLst>
        </pc:cxnChg>
      </pc:sldChg>
      <pc:sldChg chg="del">
        <pc:chgData name="Curtis Smith" userId="853fbcd611ad0f8e" providerId="LiveId" clId="{79D5096D-7AA8-46DB-ADD7-00C61D078B25}" dt="2026-04-02T01:22:37.888" v="2428" actId="47"/>
        <pc:sldMkLst>
          <pc:docMk/>
          <pc:sldMk cId="2839395730" sldId="331"/>
        </pc:sldMkLst>
      </pc:sldChg>
      <pc:sldChg chg="addSp delSp modSp add mod modClrScheme chgLayout">
        <pc:chgData name="Curtis Smith" userId="853fbcd611ad0f8e" providerId="LiveId" clId="{79D5096D-7AA8-46DB-ADD7-00C61D078B25}" dt="2026-04-03T13:32:25.509" v="8093"/>
        <pc:sldMkLst>
          <pc:docMk/>
          <pc:sldMk cId="3458769050" sldId="338"/>
        </pc:sldMkLst>
        <pc:spChg chg="del mod ord">
          <ac:chgData name="Curtis Smith" userId="853fbcd611ad0f8e" providerId="LiveId" clId="{79D5096D-7AA8-46DB-ADD7-00C61D078B25}" dt="2026-04-02T02:09:19.869" v="3126" actId="478"/>
          <ac:spMkLst>
            <pc:docMk/>
            <pc:sldMk cId="3458769050" sldId="338"/>
            <ac:spMk id="2" creationId="{5C5A7883-D977-1130-4135-DBD29D38CB36}"/>
          </ac:spMkLst>
        </pc:spChg>
        <pc:spChg chg="mod">
          <ac:chgData name="Curtis Smith" userId="853fbcd611ad0f8e" providerId="LiveId" clId="{79D5096D-7AA8-46DB-ADD7-00C61D078B25}" dt="2026-04-02T02:12:30.028" v="3147" actId="1076"/>
          <ac:spMkLst>
            <pc:docMk/>
            <pc:sldMk cId="3458769050" sldId="338"/>
            <ac:spMk id="9" creationId="{35D84826-6FBA-365E-76DB-A115AD51A88B}"/>
          </ac:spMkLst>
        </pc:spChg>
        <pc:spChg chg="mod">
          <ac:chgData name="Curtis Smith" userId="853fbcd611ad0f8e" providerId="LiveId" clId="{79D5096D-7AA8-46DB-ADD7-00C61D078B25}" dt="2026-04-02T02:14:54.943" v="3198" actId="1076"/>
          <ac:spMkLst>
            <pc:docMk/>
            <pc:sldMk cId="3458769050" sldId="338"/>
            <ac:spMk id="13" creationId="{F0632E66-9CE9-2431-8D5B-C05BBB4895BB}"/>
          </ac:spMkLst>
        </pc:spChg>
        <pc:spChg chg="add mod">
          <ac:chgData name="Curtis Smith" userId="853fbcd611ad0f8e" providerId="LiveId" clId="{79D5096D-7AA8-46DB-ADD7-00C61D078B25}" dt="2026-04-02T02:10:14.878" v="3129" actId="1076"/>
          <ac:spMkLst>
            <pc:docMk/>
            <pc:sldMk cId="3458769050" sldId="338"/>
            <ac:spMk id="14" creationId="{321884F8-B727-4F32-8DFB-A9EB8FAC179F}"/>
          </ac:spMkLst>
        </pc:spChg>
        <pc:spChg chg="mod">
          <ac:chgData name="Curtis Smith" userId="853fbcd611ad0f8e" providerId="LiveId" clId="{79D5096D-7AA8-46DB-ADD7-00C61D078B25}" dt="2026-04-02T02:15:20.439" v="3200" actId="1076"/>
          <ac:spMkLst>
            <pc:docMk/>
            <pc:sldMk cId="3458769050" sldId="338"/>
            <ac:spMk id="16" creationId="{E07F0E5D-47DA-6278-5A88-C25A3CA77B54}"/>
          </ac:spMkLst>
        </pc:spChg>
        <pc:spChg chg="mod">
          <ac:chgData name="Curtis Smith" userId="853fbcd611ad0f8e" providerId="LiveId" clId="{79D5096D-7AA8-46DB-ADD7-00C61D078B25}" dt="2026-04-02T02:14:04.551" v="3195" actId="20577"/>
          <ac:spMkLst>
            <pc:docMk/>
            <pc:sldMk cId="3458769050" sldId="338"/>
            <ac:spMk id="19" creationId="{CC71D107-802A-E05E-5FFF-F6A469F422E5}"/>
          </ac:spMkLst>
        </pc:spChg>
        <pc:spChg chg="mod">
          <ac:chgData name="Curtis Smith" userId="853fbcd611ad0f8e" providerId="LiveId" clId="{79D5096D-7AA8-46DB-ADD7-00C61D078B25}" dt="2026-04-02T02:16:48.135" v="3206" actId="1076"/>
          <ac:spMkLst>
            <pc:docMk/>
            <pc:sldMk cId="3458769050" sldId="338"/>
            <ac:spMk id="22" creationId="{F8406B66-9C10-0715-1EB7-01646F580E55}"/>
          </ac:spMkLst>
        </pc:spChg>
        <pc:picChg chg="mod ord">
          <ac:chgData name="Curtis Smith" userId="853fbcd611ad0f8e" providerId="LiveId" clId="{79D5096D-7AA8-46DB-ADD7-00C61D078B25}" dt="2026-04-02T02:11:46.632" v="3138" actId="207"/>
          <ac:picMkLst>
            <pc:docMk/>
            <pc:sldMk cId="3458769050" sldId="338"/>
            <ac:picMk id="4" creationId="{62B90B1D-3987-901B-29AE-8B7F32315DA2}"/>
          </ac:picMkLst>
        </pc:picChg>
        <pc:cxnChg chg="mod">
          <ac:chgData name="Curtis Smith" userId="853fbcd611ad0f8e" providerId="LiveId" clId="{79D5096D-7AA8-46DB-ADD7-00C61D078B25}" dt="2026-04-02T02:14:27.058" v="3196" actId="14100"/>
          <ac:cxnSpMkLst>
            <pc:docMk/>
            <pc:sldMk cId="3458769050" sldId="338"/>
            <ac:cxnSpMk id="11" creationId="{117D5FA5-4A0F-5356-48A0-92582045E09D}"/>
          </ac:cxnSpMkLst>
        </pc:cxnChg>
        <pc:cxnChg chg="mod">
          <ac:chgData name="Curtis Smith" userId="853fbcd611ad0f8e" providerId="LiveId" clId="{79D5096D-7AA8-46DB-ADD7-00C61D078B25}" dt="2026-04-02T02:14:57.952" v="3199" actId="14100"/>
          <ac:cxnSpMkLst>
            <pc:docMk/>
            <pc:sldMk cId="3458769050" sldId="338"/>
            <ac:cxnSpMk id="15" creationId="{341EE168-7DD8-BC27-72E0-05DC442D476D}"/>
          </ac:cxnSpMkLst>
        </pc:cxnChg>
        <pc:cxnChg chg="mod">
          <ac:chgData name="Curtis Smith" userId="853fbcd611ad0f8e" providerId="LiveId" clId="{79D5096D-7AA8-46DB-ADD7-00C61D078B25}" dt="2026-04-02T02:15:25.926" v="3202" actId="14100"/>
          <ac:cxnSpMkLst>
            <pc:docMk/>
            <pc:sldMk cId="3458769050" sldId="338"/>
            <ac:cxnSpMk id="18" creationId="{4AA7DB1A-13B2-50E5-C49E-77A80801C19F}"/>
          </ac:cxnSpMkLst>
        </pc:cxnChg>
        <pc:cxnChg chg="mod">
          <ac:chgData name="Curtis Smith" userId="853fbcd611ad0f8e" providerId="LiveId" clId="{79D5096D-7AA8-46DB-ADD7-00C61D078B25}" dt="2026-04-02T02:16:00.366" v="3203" actId="14100"/>
          <ac:cxnSpMkLst>
            <pc:docMk/>
            <pc:sldMk cId="3458769050" sldId="338"/>
            <ac:cxnSpMk id="21" creationId="{00CAB212-CFB1-C1A9-2E7A-863788A38AF8}"/>
          </ac:cxnSpMkLst>
        </pc:cxnChg>
        <pc:cxnChg chg="mod">
          <ac:chgData name="Curtis Smith" userId="853fbcd611ad0f8e" providerId="LiveId" clId="{79D5096D-7AA8-46DB-ADD7-00C61D078B25}" dt="2026-04-02T02:16:50.648" v="3207" actId="14100"/>
          <ac:cxnSpMkLst>
            <pc:docMk/>
            <pc:sldMk cId="3458769050" sldId="338"/>
            <ac:cxnSpMk id="24" creationId="{3FC12054-7263-D046-4AB7-1095BB4733FC}"/>
          </ac:cxnSpMkLst>
        </pc:cxn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3458769050" sldId="338"/>
            <ac:cxnSpMk id="25" creationId="{577578AB-F184-4EAD-942C-EBE8B93DAACD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3458769050" sldId="338"/>
            <ac:cxnSpMk id="26" creationId="{BB2911FD-F040-4D64-B281-611C78E0945C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3458769050" sldId="338"/>
            <ac:cxnSpMk id="27" creationId="{F1BD7145-F31B-4AEA-AB38-04C943003B92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458769050" sldId="338"/>
            <ac:cxnSpMk id="28" creationId="{5157FE69-0B88-4AA1-B638-9212B5142923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458769050" sldId="338"/>
            <ac:cxnSpMk id="29" creationId="{966C4497-93BC-41E6-B4C5-F3EB7F771073}"/>
          </ac:cxnSpMkLst>
        </pc:cxnChg>
      </pc:sldChg>
      <pc:sldChg chg="modSp add del mod modClrScheme chgLayout">
        <pc:chgData name="Curtis Smith" userId="853fbcd611ad0f8e" providerId="LiveId" clId="{79D5096D-7AA8-46DB-ADD7-00C61D078B25}" dt="2026-04-02T02:27:24.296" v="3293" actId="47"/>
        <pc:sldMkLst>
          <pc:docMk/>
          <pc:sldMk cId="4046065137" sldId="342"/>
        </pc:sldMkLst>
        <pc:spChg chg="mod ord">
          <ac:chgData name="Curtis Smith" userId="853fbcd611ad0f8e" providerId="LiveId" clId="{79D5096D-7AA8-46DB-ADD7-00C61D078B25}" dt="2026-03-31T17:08:29.779" v="1122" actId="700"/>
          <ac:spMkLst>
            <pc:docMk/>
            <pc:sldMk cId="4046065137" sldId="342"/>
            <ac:spMk id="2" creationId="{8BD7D283-316B-4784-B00C-F376A9210B5C}"/>
          </ac:spMkLst>
        </pc:spChg>
        <pc:picChg chg="mod ord">
          <ac:chgData name="Curtis Smith" userId="853fbcd611ad0f8e" providerId="LiveId" clId="{79D5096D-7AA8-46DB-ADD7-00C61D078B25}" dt="2026-03-31T17:08:29.779" v="1122" actId="700"/>
          <ac:picMkLst>
            <pc:docMk/>
            <pc:sldMk cId="4046065137" sldId="342"/>
            <ac:picMk id="4" creationId="{1DD826D9-AEBA-0974-909B-283D1180619A}"/>
          </ac:picMkLst>
        </pc:picChg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2891657327" sldId="427"/>
        </pc:sldMkLst>
        <pc:spChg chg="add del mod">
          <ac:chgData name="Curtis Smith" userId="853fbcd611ad0f8e" providerId="LiveId" clId="{79D5096D-7AA8-46DB-ADD7-00C61D078B25}" dt="2026-03-31T15:14:50.620" v="704" actId="700"/>
          <ac:spMkLst>
            <pc:docMk/>
            <pc:sldMk cId="2891657327" sldId="427"/>
            <ac:spMk id="3" creationId="{56BC52E6-3928-4CD1-B2AE-66C50BE2210C}"/>
          </ac:spMkLst>
        </pc:spChg>
        <pc:spChg chg="del">
          <ac:chgData name="Curtis Smith" userId="853fbcd611ad0f8e" providerId="LiveId" clId="{79D5096D-7AA8-46DB-ADD7-00C61D078B25}" dt="2026-03-31T15:05:31.829" v="525" actId="478"/>
          <ac:spMkLst>
            <pc:docMk/>
            <pc:sldMk cId="2891657327" sldId="427"/>
            <ac:spMk id="6" creationId="{C7571BE3-DA4D-4D13-B962-03CAB2B3AE3C}"/>
          </ac:spMkLst>
        </pc:spChg>
        <pc:spChg chg="add mod">
          <ac:chgData name="Curtis Smith" userId="853fbcd611ad0f8e" providerId="LiveId" clId="{79D5096D-7AA8-46DB-ADD7-00C61D078B25}" dt="2026-03-31T15:05:29.448" v="524"/>
          <ac:spMkLst>
            <pc:docMk/>
            <pc:sldMk cId="2891657327" sldId="427"/>
            <ac:spMk id="7" creationId="{36E67A13-3FBE-4919-8B0F-29E1BB6A035A}"/>
          </ac:spMkLst>
        </pc:spChg>
        <pc:spChg chg="add mod">
          <ac:chgData name="Curtis Smith" userId="853fbcd611ad0f8e" providerId="LiveId" clId="{79D5096D-7AA8-46DB-ADD7-00C61D078B25}" dt="2026-04-01T19:20:15.585" v="1266" actId="207"/>
          <ac:spMkLst>
            <pc:docMk/>
            <pc:sldMk cId="2891657327" sldId="427"/>
            <ac:spMk id="9" creationId="{78791917-310D-4CC1-99C6-4C50D811200C}"/>
          </ac:spMkLst>
        </pc:spChg>
        <pc:spChg chg="add mod">
          <ac:chgData name="Curtis Smith" userId="853fbcd611ad0f8e" providerId="LiveId" clId="{79D5096D-7AA8-46DB-ADD7-00C61D078B25}" dt="2026-03-31T15:20:25.108" v="908" actId="207"/>
          <ac:spMkLst>
            <pc:docMk/>
            <pc:sldMk cId="2891657327" sldId="427"/>
            <ac:spMk id="11" creationId="{501203C6-04D4-4E4E-A5C8-FF190FE8DE54}"/>
          </ac:spMkLst>
        </pc:spChg>
        <pc:spChg chg="del">
          <ac:chgData name="Curtis Smith" userId="853fbcd611ad0f8e" providerId="LiveId" clId="{79D5096D-7AA8-46DB-ADD7-00C61D078B25}" dt="2026-03-31T15:14:46.268" v="703" actId="478"/>
          <ac:spMkLst>
            <pc:docMk/>
            <pc:sldMk cId="2891657327" sldId="427"/>
            <ac:spMk id="53250" creationId="{00000000-0000-0000-0000-000000000000}"/>
          </ac:spMkLst>
        </pc:spChg>
        <pc:spChg chg="del mod ord">
          <ac:chgData name="Curtis Smith" userId="853fbcd611ad0f8e" providerId="LiveId" clId="{79D5096D-7AA8-46DB-ADD7-00C61D078B25}" dt="2026-03-31T15:17:05.216" v="771" actId="478"/>
          <ac:spMkLst>
            <pc:docMk/>
            <pc:sldMk cId="2891657327" sldId="427"/>
            <ac:spMk id="53251" creationId="{00000000-0000-0000-0000-000000000000}"/>
          </ac:spMkLst>
        </pc:spChg>
        <pc:picChg chg="mod ord">
          <ac:chgData name="Curtis Smith" userId="853fbcd611ad0f8e" providerId="LiveId" clId="{79D5096D-7AA8-46DB-ADD7-00C61D078B25}" dt="2026-03-31T16:59:19.181" v="1047"/>
          <ac:picMkLst>
            <pc:docMk/>
            <pc:sldMk cId="2891657327" sldId="427"/>
            <ac:picMk id="53253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891657327" sldId="427"/>
            <ac:cxnSpMk id="2" creationId="{1607D4A1-CDC3-4A64-BAC6-DAA2C5757456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891657327" sldId="427"/>
            <ac:cxnSpMk id="3" creationId="{548CDB7B-939C-4177-9CC3-E3FCCB4BA8AD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891657327" sldId="427"/>
            <ac:cxnSpMk id="4" creationId="{CC0D3E91-0C4C-49BB-876F-EBA1A6662BC9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891657327" sldId="427"/>
            <ac:cxnSpMk id="5" creationId="{584B7416-D611-4D76-921B-1D9AA71EB008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891657327" sldId="427"/>
            <ac:cxnSpMk id="6" creationId="{AF556179-144A-4C00-8B58-FD0F5DECCDE6}"/>
          </ac:cxnSpMkLst>
        </pc:cxnChg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1744452728" sldId="451"/>
        </pc:sldMkLst>
        <pc:spChg chg="del mod">
          <ac:chgData name="Curtis Smith" userId="853fbcd611ad0f8e" providerId="LiveId" clId="{79D5096D-7AA8-46DB-ADD7-00C61D078B25}" dt="2026-03-31T14:34:44.982" v="46" actId="478"/>
          <ac:spMkLst>
            <pc:docMk/>
            <pc:sldMk cId="1744452728" sldId="451"/>
            <ac:spMk id="2" creationId="{00000000-0000-0000-0000-000000000000}"/>
          </ac:spMkLst>
        </pc:spChg>
        <pc:spChg chg="del">
          <ac:chgData name="Curtis Smith" userId="853fbcd611ad0f8e" providerId="LiveId" clId="{79D5096D-7AA8-46DB-ADD7-00C61D078B25}" dt="2026-03-31T14:33:32.420" v="27" actId="478"/>
          <ac:spMkLst>
            <pc:docMk/>
            <pc:sldMk cId="1744452728" sldId="451"/>
            <ac:spMk id="3" creationId="{64DF4085-D64A-416B-AA13-804330DD03B9}"/>
          </ac:spMkLst>
        </pc:spChg>
        <pc:spChg chg="mod">
          <ac:chgData name="Curtis Smith" userId="853fbcd611ad0f8e" providerId="LiveId" clId="{79D5096D-7AA8-46DB-ADD7-00C61D078B25}" dt="2026-03-31T15:06:17.969" v="532" actId="1076"/>
          <ac:spMkLst>
            <pc:docMk/>
            <pc:sldMk cId="1744452728" sldId="451"/>
            <ac:spMk id="4" creationId="{00000000-0000-0000-0000-000000000000}"/>
          </ac:spMkLst>
        </pc:spChg>
        <pc:spChg chg="del">
          <ac:chgData name="Curtis Smith" userId="853fbcd611ad0f8e" providerId="LiveId" clId="{79D5096D-7AA8-46DB-ADD7-00C61D078B25}" dt="2026-03-31T14:33:31.407" v="26" actId="478"/>
          <ac:spMkLst>
            <pc:docMk/>
            <pc:sldMk cId="1744452728" sldId="451"/>
            <ac:spMk id="5" creationId="{00000000-0000-0000-0000-000000000000}"/>
          </ac:spMkLst>
        </pc:spChg>
        <pc:spChg chg="add mod">
          <ac:chgData name="Curtis Smith" userId="853fbcd611ad0f8e" providerId="LiveId" clId="{79D5096D-7AA8-46DB-ADD7-00C61D078B25}" dt="2026-03-31T14:36:42.236" v="115" actId="6549"/>
          <ac:spMkLst>
            <pc:docMk/>
            <pc:sldMk cId="1744452728" sldId="451"/>
            <ac:spMk id="6" creationId="{A7714E02-8754-4A86-BFA6-AC56020D9A0C}"/>
          </ac:spMkLst>
        </pc:spChg>
        <pc:spChg chg="add del mod">
          <ac:chgData name="Curtis Smith" userId="853fbcd611ad0f8e" providerId="LiveId" clId="{79D5096D-7AA8-46DB-ADD7-00C61D078B25}" dt="2026-03-31T14:34:50.595" v="47" actId="700"/>
          <ac:spMkLst>
            <pc:docMk/>
            <pc:sldMk cId="1744452728" sldId="451"/>
            <ac:spMk id="8" creationId="{0347D8FE-EF57-4EAB-8E29-B57339E13FF6}"/>
          </ac:spMkLst>
        </pc:spChg>
        <pc:spChg chg="del mod">
          <ac:chgData name="Curtis Smith" userId="853fbcd611ad0f8e" providerId="LiveId" clId="{79D5096D-7AA8-46DB-ADD7-00C61D078B25}" dt="2026-03-31T14:50:19.849" v="288" actId="21"/>
          <ac:spMkLst>
            <pc:docMk/>
            <pc:sldMk cId="1744452728" sldId="451"/>
            <ac:spMk id="9" creationId="{95AE9DCC-54F6-4A55-80BB-ACA5FDA0D673}"/>
          </ac:spMkLst>
        </pc:spChg>
        <pc:spChg chg="add del mod">
          <ac:chgData name="Curtis Smith" userId="853fbcd611ad0f8e" providerId="LiveId" clId="{79D5096D-7AA8-46DB-ADD7-00C61D078B25}" dt="2026-03-31T14:34:43.050" v="45" actId="478"/>
          <ac:spMkLst>
            <pc:docMk/>
            <pc:sldMk cId="1744452728" sldId="451"/>
            <ac:spMk id="10" creationId="{69FAF198-48C0-4868-8A8C-2B38CE2B2B2E}"/>
          </ac:spMkLst>
        </pc:spChg>
        <pc:spChg chg="del mod ord">
          <ac:chgData name="Curtis Smith" userId="853fbcd611ad0f8e" providerId="LiveId" clId="{79D5096D-7AA8-46DB-ADD7-00C61D078B25}" dt="2026-03-31T15:05:21.853" v="522" actId="478"/>
          <ac:spMkLst>
            <pc:docMk/>
            <pc:sldMk cId="1744452728" sldId="451"/>
            <ac:spMk id="11" creationId="{14AAC95E-4C63-42C4-8BDD-AF0924BA4AF8}"/>
          </ac:spMkLst>
        </pc:spChg>
        <pc:spChg chg="add mod">
          <ac:chgData name="Curtis Smith" userId="853fbcd611ad0f8e" providerId="LiveId" clId="{79D5096D-7AA8-46DB-ADD7-00C61D078B25}" dt="2026-03-31T15:05:16.580" v="521"/>
          <ac:spMkLst>
            <pc:docMk/>
            <pc:sldMk cId="1744452728" sldId="451"/>
            <ac:spMk id="14" creationId="{54A4D8D5-55B0-4A1A-9025-8560E4CD9E69}"/>
          </ac:spMkLst>
        </pc:spChg>
        <pc:picChg chg="del">
          <ac:chgData name="Curtis Smith" userId="853fbcd611ad0f8e" providerId="LiveId" clId="{79D5096D-7AA8-46DB-ADD7-00C61D078B25}" dt="2026-03-31T14:33:29.547" v="25" actId="478"/>
          <ac:picMkLst>
            <pc:docMk/>
            <pc:sldMk cId="1744452728" sldId="451"/>
            <ac:picMk id="1026" creationId="{00000000-0000-0000-0000-000000000000}"/>
          </ac:picMkLst>
        </pc:picChg>
        <pc:picChg chg="mod ord">
          <ac:chgData name="Curtis Smith" userId="853fbcd611ad0f8e" providerId="LiveId" clId="{79D5096D-7AA8-46DB-ADD7-00C61D078B25}" dt="2026-03-31T15:00:10.433" v="374" actId="14100"/>
          <ac:picMkLst>
            <pc:docMk/>
            <pc:sldMk cId="1744452728" sldId="451"/>
            <ac:picMk id="1028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744452728" sldId="451"/>
            <ac:cxnSpMk id="2" creationId="{E8471ABB-16B6-44EF-AEDD-C28432D8C5C9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744452728" sldId="451"/>
            <ac:cxnSpMk id="3" creationId="{549550E2-FA1A-4BA9-8E2B-E1D0BC2B370D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744452728" sldId="451"/>
            <ac:cxnSpMk id="5" creationId="{3965CB27-34FA-412B-AA44-E372B98BFB81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744452728" sldId="451"/>
            <ac:cxnSpMk id="7" creationId="{4F579CF0-CC86-4BF3-8DBC-DD11ED69C662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744452728" sldId="451"/>
            <ac:cxnSpMk id="8" creationId="{1A963C6B-4DFB-4D04-8C98-9604DECA0F60}"/>
          </ac:cxnSpMkLst>
        </pc:cxnChg>
      </pc:sldChg>
      <pc:sldChg chg="del">
        <pc:chgData name="Curtis Smith" userId="853fbcd611ad0f8e" providerId="LiveId" clId="{79D5096D-7AA8-46DB-ADD7-00C61D078B25}" dt="2026-03-31T14:31:20.717" v="18" actId="47"/>
        <pc:sldMkLst>
          <pc:docMk/>
          <pc:sldMk cId="2202225536" sldId="679"/>
        </pc:sldMkLst>
      </pc:sldChg>
      <pc:sldChg chg="del">
        <pc:chgData name="Curtis Smith" userId="853fbcd611ad0f8e" providerId="LiveId" clId="{79D5096D-7AA8-46DB-ADD7-00C61D078B25}" dt="2026-04-01T21:03:36.703" v="1673" actId="47"/>
        <pc:sldMkLst>
          <pc:docMk/>
          <pc:sldMk cId="1522445128" sldId="894"/>
        </pc:sldMkLst>
      </pc:sldChg>
      <pc:sldChg chg="del">
        <pc:chgData name="Curtis Smith" userId="853fbcd611ad0f8e" providerId="LiveId" clId="{79D5096D-7AA8-46DB-ADD7-00C61D078B25}" dt="2026-04-01T21:22:04.776" v="2046" actId="47"/>
        <pc:sldMkLst>
          <pc:docMk/>
          <pc:sldMk cId="4019525124" sldId="932"/>
        </pc:sldMkLst>
      </pc:sldChg>
      <pc:sldChg chg="del">
        <pc:chgData name="Curtis Smith" userId="853fbcd611ad0f8e" providerId="LiveId" clId="{79D5096D-7AA8-46DB-ADD7-00C61D078B25}" dt="2026-04-01T21:17:43.734" v="1954" actId="47"/>
        <pc:sldMkLst>
          <pc:docMk/>
          <pc:sldMk cId="1171657688" sldId="1283"/>
        </pc:sldMkLst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3172259294" sldId="1286"/>
        </pc:sldMkLst>
        <pc:spChg chg="add del mod">
          <ac:chgData name="Curtis Smith" userId="853fbcd611ad0f8e" providerId="LiveId" clId="{79D5096D-7AA8-46DB-ADD7-00C61D078B25}" dt="2026-04-02T02:49:18.574" v="4322"/>
          <ac:spMkLst>
            <pc:docMk/>
            <pc:sldMk cId="3172259294" sldId="1286"/>
            <ac:spMk id="9" creationId="{EE40A279-9302-4CF0-8952-93519025AF1E}"/>
          </ac:spMkLst>
        </pc:spChg>
        <pc:spChg chg="mod ord">
          <ac:chgData name="Curtis Smith" userId="853fbcd611ad0f8e" providerId="LiveId" clId="{79D5096D-7AA8-46DB-ADD7-00C61D078B25}" dt="2026-04-01T21:09:17.007" v="1798" actId="700"/>
          <ac:spMkLst>
            <pc:docMk/>
            <pc:sldMk cId="3172259294" sldId="1286"/>
            <ac:spMk id="10" creationId="{FD45713A-2F9D-47DE-A309-CFE71E9F0A44}"/>
          </ac:spMkLst>
        </pc:spChg>
        <pc:spChg chg="add del mod">
          <ac:chgData name="Curtis Smith" userId="853fbcd611ad0f8e" providerId="LiveId" clId="{79D5096D-7AA8-46DB-ADD7-00C61D078B25}" dt="2026-04-02T02:49:18.574" v="4322"/>
          <ac:spMkLst>
            <pc:docMk/>
            <pc:sldMk cId="3172259294" sldId="1286"/>
            <ac:spMk id="11" creationId="{BE994476-63C1-46A7-ABC9-32DB4BD046A8}"/>
          </ac:spMkLst>
        </pc:spChg>
        <pc:spChg chg="add del mod">
          <ac:chgData name="Curtis Smith" userId="853fbcd611ad0f8e" providerId="LiveId" clId="{79D5096D-7AA8-46DB-ADD7-00C61D078B25}" dt="2026-04-02T16:29:55.952" v="5187"/>
          <ac:spMkLst>
            <pc:docMk/>
            <pc:sldMk cId="3172259294" sldId="1286"/>
            <ac:spMk id="12" creationId="{48176D21-C33C-4656-8091-A3B6B02568A0}"/>
          </ac:spMkLst>
        </pc:spChg>
        <pc:spChg chg="add del mod">
          <ac:chgData name="Curtis Smith" userId="853fbcd611ad0f8e" providerId="LiveId" clId="{79D5096D-7AA8-46DB-ADD7-00C61D078B25}" dt="2026-04-02T16:29:55.952" v="5187"/>
          <ac:spMkLst>
            <pc:docMk/>
            <pc:sldMk cId="3172259294" sldId="1286"/>
            <ac:spMk id="13" creationId="{4DDB9047-1BB0-422F-B26D-49A0DB08CD0D}"/>
          </ac:spMkLst>
        </pc:spChg>
        <pc:spChg chg="add del mod">
          <ac:chgData name="Curtis Smith" userId="853fbcd611ad0f8e" providerId="LiveId" clId="{79D5096D-7AA8-46DB-ADD7-00C61D078B25}" dt="2026-04-02T20:36:19.841" v="6115"/>
          <ac:spMkLst>
            <pc:docMk/>
            <pc:sldMk cId="3172259294" sldId="1286"/>
            <ac:spMk id="15" creationId="{A4780958-FA6E-44FF-99DB-9F7B6F6A1586}"/>
          </ac:spMkLst>
        </pc:spChg>
        <pc:spChg chg="add del mod">
          <ac:chgData name="Curtis Smith" userId="853fbcd611ad0f8e" providerId="LiveId" clId="{79D5096D-7AA8-46DB-ADD7-00C61D078B25}" dt="2026-04-02T20:36:19.841" v="6115"/>
          <ac:spMkLst>
            <pc:docMk/>
            <pc:sldMk cId="3172259294" sldId="1286"/>
            <ac:spMk id="16" creationId="{B983C40D-32F6-4B79-9D72-5BC1C3D0B1F3}"/>
          </ac:spMkLst>
        </pc:spChg>
        <pc:spChg chg="add del mod">
          <ac:chgData name="Curtis Smith" userId="853fbcd611ad0f8e" providerId="LiveId" clId="{79D5096D-7AA8-46DB-ADD7-00C61D078B25}" dt="2026-04-03T01:15:19.298" v="7036"/>
          <ac:spMkLst>
            <pc:docMk/>
            <pc:sldMk cId="3172259294" sldId="1286"/>
            <ac:spMk id="18" creationId="{8C2D9EC4-C20B-4231-BF7B-6FAA7733AF79}"/>
          </ac:spMkLst>
        </pc:spChg>
        <pc:spChg chg="add del mod">
          <ac:chgData name="Curtis Smith" userId="853fbcd611ad0f8e" providerId="LiveId" clId="{79D5096D-7AA8-46DB-ADD7-00C61D078B25}" dt="2026-04-03T01:15:19.298" v="7036"/>
          <ac:spMkLst>
            <pc:docMk/>
            <pc:sldMk cId="3172259294" sldId="1286"/>
            <ac:spMk id="19" creationId="{4FF0B7CA-5750-40C0-AAC3-0F5E5249E957}"/>
          </ac:spMkLst>
        </pc:spChg>
        <pc:spChg chg="add del mod">
          <ac:chgData name="Curtis Smith" userId="853fbcd611ad0f8e" providerId="LiveId" clId="{79D5096D-7AA8-46DB-ADD7-00C61D078B25}" dt="2026-04-03T13:32:25.509" v="8093"/>
          <ac:spMkLst>
            <pc:docMk/>
            <pc:sldMk cId="3172259294" sldId="1286"/>
            <ac:spMk id="21" creationId="{7696CFA3-30C7-4142-AFD6-B3A3263A8CBB}"/>
          </ac:spMkLst>
        </pc:spChg>
        <pc:spChg chg="add del mod">
          <ac:chgData name="Curtis Smith" userId="853fbcd611ad0f8e" providerId="LiveId" clId="{79D5096D-7AA8-46DB-ADD7-00C61D078B25}" dt="2026-04-03T13:32:25.509" v="8093"/>
          <ac:spMkLst>
            <pc:docMk/>
            <pc:sldMk cId="3172259294" sldId="1286"/>
            <ac:spMk id="22" creationId="{BC802C08-F265-47CD-A2E4-1D0E0C7ECDFA}"/>
          </ac:spMkLst>
        </pc:spChg>
        <pc:spChg chg="del mod ord">
          <ac:chgData name="Curtis Smith" userId="853fbcd611ad0f8e" providerId="LiveId" clId="{79D5096D-7AA8-46DB-ADD7-00C61D078B25}" dt="2026-04-01T21:09:19.960" v="1799" actId="478"/>
          <ac:spMkLst>
            <pc:docMk/>
            <pc:sldMk cId="3172259294" sldId="1286"/>
            <ac:spMk id="4098" creationId="{00000000-0000-0000-0000-000000000000}"/>
          </ac:spMkLst>
        </pc:spChg>
        <pc:spChg chg="mod ord">
          <ac:chgData name="Curtis Smith" userId="853fbcd611ad0f8e" providerId="LiveId" clId="{79D5096D-7AA8-46DB-ADD7-00C61D078B25}" dt="2026-04-01T21:09:17.007" v="1798" actId="700"/>
          <ac:spMkLst>
            <pc:docMk/>
            <pc:sldMk cId="3172259294" sldId="1286"/>
            <ac:spMk id="4099" creationId="{00000000-0000-0000-0000-000000000000}"/>
          </ac:spMkLst>
        </pc:spChg>
        <pc:picChg chg="ord">
          <ac:chgData name="Curtis Smith" userId="853fbcd611ad0f8e" providerId="LiveId" clId="{79D5096D-7AA8-46DB-ADD7-00C61D078B25}" dt="2026-04-01T21:11:18.645" v="1841" actId="166"/>
          <ac:picMkLst>
            <pc:docMk/>
            <pc:sldMk cId="3172259294" sldId="1286"/>
            <ac:picMk id="5" creationId="{00000000-0000-0000-0000-000000000000}"/>
          </ac:picMkLst>
        </pc:picChg>
        <pc:picChg chg="mod">
          <ac:chgData name="Curtis Smith" userId="853fbcd611ad0f8e" providerId="LiveId" clId="{79D5096D-7AA8-46DB-ADD7-00C61D078B25}" dt="2026-04-01T21:11:04.009" v="1836" actId="166"/>
          <ac:picMkLst>
            <pc:docMk/>
            <pc:sldMk cId="3172259294" sldId="1286"/>
            <ac:picMk id="1026" creationId="{00000000-0000-0000-0000-000000000000}"/>
          </ac:picMkLst>
        </pc:picChg>
        <pc:picChg chg="mod">
          <ac:chgData name="Curtis Smith" userId="853fbcd611ad0f8e" providerId="LiveId" clId="{79D5096D-7AA8-46DB-ADD7-00C61D078B25}" dt="2026-04-01T21:11:09.707" v="1838" actId="166"/>
          <ac:picMkLst>
            <pc:docMk/>
            <pc:sldMk cId="3172259294" sldId="1286"/>
            <ac:picMk id="1028" creationId="{00000000-0000-0000-0000-000000000000}"/>
          </ac:picMkLst>
        </pc:picChg>
        <pc:picChg chg="mod">
          <ac:chgData name="Curtis Smith" userId="853fbcd611ad0f8e" providerId="LiveId" clId="{79D5096D-7AA8-46DB-ADD7-00C61D078B25}" dt="2026-04-01T21:10:02.905" v="1819" actId="14100"/>
          <ac:picMkLst>
            <pc:docMk/>
            <pc:sldMk cId="3172259294" sldId="1286"/>
            <ac:picMk id="1029" creationId="{00000000-0000-0000-0000-000000000000}"/>
          </ac:picMkLst>
        </pc:picChg>
        <pc:picChg chg="mod">
          <ac:chgData name="Curtis Smith" userId="853fbcd611ad0f8e" providerId="LiveId" clId="{79D5096D-7AA8-46DB-ADD7-00C61D078B25}" dt="2026-04-01T21:09:47.479" v="1808" actId="14100"/>
          <ac:picMkLst>
            <pc:docMk/>
            <pc:sldMk cId="3172259294" sldId="1286"/>
            <ac:picMk id="1031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3172259294" sldId="1286"/>
            <ac:cxnSpMk id="2" creationId="{65656B40-8DF3-48F1-9195-FF14FD19FF62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3172259294" sldId="1286"/>
            <ac:cxnSpMk id="3" creationId="{B4544DDA-8F8D-4AC0-BAD8-87F867175DC1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3172259294" sldId="1286"/>
            <ac:cxnSpMk id="4" creationId="{465FCD3C-5AE2-4FC2-BA8D-979BE4F7208D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172259294" sldId="1286"/>
            <ac:cxnSpMk id="6" creationId="{82A850BE-FC8D-4584-A120-165408B9E9C7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172259294" sldId="1286"/>
            <ac:cxnSpMk id="7" creationId="{A9C407F8-E8CA-4AC6-BE33-5E71616F1CA3}"/>
          </ac:cxnSpMkLst>
        </pc:cxnChg>
      </pc:sldChg>
      <pc:sldChg chg="del">
        <pc:chgData name="Curtis Smith" userId="853fbcd611ad0f8e" providerId="LiveId" clId="{79D5096D-7AA8-46DB-ADD7-00C61D078B25}" dt="2026-03-31T14:31:27.621" v="23" actId="47"/>
        <pc:sldMkLst>
          <pc:docMk/>
          <pc:sldMk cId="3244127933" sldId="1577"/>
        </pc:sldMkLst>
      </pc:sldChg>
      <pc:sldChg chg="del">
        <pc:chgData name="Curtis Smith" userId="853fbcd611ad0f8e" providerId="LiveId" clId="{79D5096D-7AA8-46DB-ADD7-00C61D078B25}" dt="2026-04-01T21:06:59.445" v="1782" actId="47"/>
        <pc:sldMkLst>
          <pc:docMk/>
          <pc:sldMk cId="1007431441" sldId="1838"/>
        </pc:sldMkLst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2850381299" sldId="1849"/>
        </pc:sldMkLst>
        <pc:spChg chg="del mod ord">
          <ac:chgData name="Curtis Smith" userId="853fbcd611ad0f8e" providerId="LiveId" clId="{79D5096D-7AA8-46DB-ADD7-00C61D078B25}" dt="2026-04-02T01:54:14.984" v="2923" actId="478"/>
          <ac:spMkLst>
            <pc:docMk/>
            <pc:sldMk cId="2850381299" sldId="1849"/>
            <ac:spMk id="2" creationId="{15FF03FD-3233-4A09-87B2-0A7EFEF7F529}"/>
          </ac:spMkLst>
        </pc:spChg>
        <pc:spChg chg="mod ord">
          <ac:chgData name="Curtis Smith" userId="853fbcd611ad0f8e" providerId="LiveId" clId="{79D5096D-7AA8-46DB-ADD7-00C61D078B25}" dt="2026-04-02T01:08:29.936" v="2233" actId="700"/>
          <ac:spMkLst>
            <pc:docMk/>
            <pc:sldMk cId="2850381299" sldId="1849"/>
            <ac:spMk id="3" creationId="{B024030F-2883-BC9E-DE32-5D35E5BDA9E3}"/>
          </ac:spMkLst>
        </pc:spChg>
        <pc:spChg chg="add mod">
          <ac:chgData name="Curtis Smith" userId="853fbcd611ad0f8e" providerId="LiveId" clId="{79D5096D-7AA8-46DB-ADD7-00C61D078B25}" dt="2026-04-02T02:05:47.404" v="3077"/>
          <ac:spMkLst>
            <pc:docMk/>
            <pc:sldMk cId="2850381299" sldId="1849"/>
            <ac:spMk id="10" creationId="{99C39E5E-E3DD-438E-818B-6E5BF8184210}"/>
          </ac:spMkLst>
        </pc:spChg>
        <pc:picChg chg="del mod modCrop">
          <ac:chgData name="Curtis Smith" userId="853fbcd611ad0f8e" providerId="LiveId" clId="{79D5096D-7AA8-46DB-ADD7-00C61D078B25}" dt="2026-04-02T01:53:50.305" v="2918" actId="478"/>
          <ac:picMkLst>
            <pc:docMk/>
            <pc:sldMk cId="2850381299" sldId="1849"/>
            <ac:picMk id="4" creationId="{7E54D2AF-67D3-45A2-93F6-DDDD0E0F6780}"/>
          </ac:picMkLst>
        </pc:picChg>
        <pc:picChg chg="add del mod">
          <ac:chgData name="Curtis Smith" userId="853fbcd611ad0f8e" providerId="LiveId" clId="{79D5096D-7AA8-46DB-ADD7-00C61D078B25}" dt="2026-04-02T01:54:00.312" v="2920" actId="478"/>
          <ac:picMkLst>
            <pc:docMk/>
            <pc:sldMk cId="2850381299" sldId="1849"/>
            <ac:picMk id="5" creationId="{1276C0C2-4F98-4E84-8061-757E38A97FB6}"/>
          </ac:picMkLst>
        </pc:picChg>
        <pc:picChg chg="add del mod">
          <ac:chgData name="Curtis Smith" userId="853fbcd611ad0f8e" providerId="LiveId" clId="{79D5096D-7AA8-46DB-ADD7-00C61D078B25}" dt="2026-04-02T01:57:13.762" v="2925" actId="478"/>
          <ac:picMkLst>
            <pc:docMk/>
            <pc:sldMk cId="2850381299" sldId="1849"/>
            <ac:picMk id="7" creationId="{BB2FA002-77A3-49C4-A704-1DDCA885B882}"/>
          </ac:picMkLst>
        </pc:picChg>
        <pc:picChg chg="add mod">
          <ac:chgData name="Curtis Smith" userId="853fbcd611ad0f8e" providerId="LiveId" clId="{79D5096D-7AA8-46DB-ADD7-00C61D078B25}" dt="2026-04-02T01:57:21.574" v="2928" actId="14100"/>
          <ac:picMkLst>
            <pc:docMk/>
            <pc:sldMk cId="2850381299" sldId="1849"/>
            <ac:picMk id="9" creationId="{3C7BFD05-F372-4C9E-B973-CA0CEBE4F169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850381299" sldId="1849"/>
            <ac:cxnSpMk id="11" creationId="{1AE84F9F-4B79-4A4A-B2B5-B56637BF88C9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850381299" sldId="1849"/>
            <ac:cxnSpMk id="12" creationId="{551D5994-5784-4D31-BB13-B22B3C27A15A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850381299" sldId="1849"/>
            <ac:cxnSpMk id="13" creationId="{A8F2EEE3-ADDF-4E4B-88E2-E51651E00B7F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850381299" sldId="1849"/>
            <ac:cxnSpMk id="14" creationId="{830B9083-74EB-47FE-93B8-9F737A103B23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850381299" sldId="1849"/>
            <ac:cxnSpMk id="15" creationId="{3EB36DDC-9AF0-47A7-A87D-B88B9EF42C82}"/>
          </ac:cxnSpMkLst>
        </pc:cxnChg>
      </pc:sldChg>
      <pc:sldChg chg="del">
        <pc:chgData name="Curtis Smith" userId="853fbcd611ad0f8e" providerId="LiveId" clId="{79D5096D-7AA8-46DB-ADD7-00C61D078B25}" dt="2026-04-02T02:32:37.911" v="3450" actId="47"/>
        <pc:sldMkLst>
          <pc:docMk/>
          <pc:sldMk cId="3480828810" sldId="1850"/>
        </pc:sldMkLst>
      </pc:sldChg>
      <pc:sldChg chg="del">
        <pc:chgData name="Curtis Smith" userId="853fbcd611ad0f8e" providerId="LiveId" clId="{79D5096D-7AA8-46DB-ADD7-00C61D078B25}" dt="2026-04-01T21:21:49.754" v="2045" actId="47"/>
        <pc:sldMkLst>
          <pc:docMk/>
          <pc:sldMk cId="2808432425" sldId="1855"/>
        </pc:sldMkLst>
      </pc:sldChg>
      <pc:sldChg chg="del">
        <pc:chgData name="Curtis Smith" userId="853fbcd611ad0f8e" providerId="LiveId" clId="{79D5096D-7AA8-46DB-ADD7-00C61D078B25}" dt="2026-04-02T01:08:10.004" v="2232" actId="47"/>
        <pc:sldMkLst>
          <pc:docMk/>
          <pc:sldMk cId="3220035274" sldId="1856"/>
        </pc:sldMkLst>
      </pc:sldChg>
      <pc:sldChg chg="del">
        <pc:chgData name="Curtis Smith" userId="853fbcd611ad0f8e" providerId="LiveId" clId="{79D5096D-7AA8-46DB-ADD7-00C61D078B25}" dt="2026-03-31T14:31:15.929" v="13" actId="47"/>
        <pc:sldMkLst>
          <pc:docMk/>
          <pc:sldMk cId="3904383195" sldId="1857"/>
        </pc:sldMkLst>
      </pc:sldChg>
      <pc:sldChg chg="del">
        <pc:chgData name="Curtis Smith" userId="853fbcd611ad0f8e" providerId="LiveId" clId="{79D5096D-7AA8-46DB-ADD7-00C61D078B25}" dt="2026-04-02T01:46:23.571" v="2760" actId="47"/>
        <pc:sldMkLst>
          <pc:docMk/>
          <pc:sldMk cId="3452129388" sldId="1859"/>
        </pc:sldMkLst>
      </pc:sldChg>
      <pc:sldChg chg="del">
        <pc:chgData name="Curtis Smith" userId="853fbcd611ad0f8e" providerId="LiveId" clId="{79D5096D-7AA8-46DB-ADD7-00C61D078B25}" dt="2026-04-02T01:46:26.107" v="2761" actId="47"/>
        <pc:sldMkLst>
          <pc:docMk/>
          <pc:sldMk cId="1883683745" sldId="1860"/>
        </pc:sldMkLst>
      </pc:sldChg>
      <pc:sldChg chg="del">
        <pc:chgData name="Curtis Smith" userId="853fbcd611ad0f8e" providerId="LiveId" clId="{79D5096D-7AA8-46DB-ADD7-00C61D078B25}" dt="2026-04-02T01:52:17.672" v="2916" actId="47"/>
        <pc:sldMkLst>
          <pc:docMk/>
          <pc:sldMk cId="3783948746" sldId="1863"/>
        </pc:sldMkLst>
      </pc:sldChg>
      <pc:sldChg chg="del">
        <pc:chgData name="Curtis Smith" userId="853fbcd611ad0f8e" providerId="LiveId" clId="{79D5096D-7AA8-46DB-ADD7-00C61D078B25}" dt="2026-04-02T01:52:22.211" v="2917" actId="47"/>
        <pc:sldMkLst>
          <pc:docMk/>
          <pc:sldMk cId="226372486" sldId="1864"/>
        </pc:sldMkLst>
      </pc:sldChg>
      <pc:sldChg chg="del">
        <pc:chgData name="Curtis Smith" userId="853fbcd611ad0f8e" providerId="LiveId" clId="{79D5096D-7AA8-46DB-ADD7-00C61D078B25}" dt="2026-04-02T01:31:02.261" v="2558" actId="47"/>
        <pc:sldMkLst>
          <pc:docMk/>
          <pc:sldMk cId="3700428991" sldId="1867"/>
        </pc:sldMkLst>
      </pc:sldChg>
      <pc:sldChg chg="del">
        <pc:chgData name="Curtis Smith" userId="853fbcd611ad0f8e" providerId="LiveId" clId="{79D5096D-7AA8-46DB-ADD7-00C61D078B25}" dt="2026-04-02T02:32:34.162" v="3449" actId="47"/>
        <pc:sldMkLst>
          <pc:docMk/>
          <pc:sldMk cId="3642890140" sldId="1871"/>
        </pc:sldMkLst>
      </pc:sldChg>
      <pc:sldChg chg="del">
        <pc:chgData name="Curtis Smith" userId="853fbcd611ad0f8e" providerId="LiveId" clId="{79D5096D-7AA8-46DB-ADD7-00C61D078B25}" dt="2026-04-02T01:28:21.519" v="2515" actId="47"/>
        <pc:sldMkLst>
          <pc:docMk/>
          <pc:sldMk cId="2747399351" sldId="1872"/>
        </pc:sldMkLst>
      </pc:sldChg>
      <pc:sldChg chg="del">
        <pc:chgData name="Curtis Smith" userId="853fbcd611ad0f8e" providerId="LiveId" clId="{79D5096D-7AA8-46DB-ADD7-00C61D078B25}" dt="2026-04-02T01:15:41.619" v="2300" actId="47"/>
        <pc:sldMkLst>
          <pc:docMk/>
          <pc:sldMk cId="3352533484" sldId="1873"/>
        </pc:sldMkLst>
      </pc:sldChg>
      <pc:sldChg chg="del">
        <pc:chgData name="Curtis Smith" userId="853fbcd611ad0f8e" providerId="LiveId" clId="{79D5096D-7AA8-46DB-ADD7-00C61D078B25}" dt="2026-03-31T14:30:32.784" v="10" actId="47"/>
        <pc:sldMkLst>
          <pc:docMk/>
          <pc:sldMk cId="3260846303" sldId="1874"/>
        </pc:sldMkLst>
      </pc:sldChg>
      <pc:sldChg chg="del">
        <pc:chgData name="Curtis Smith" userId="853fbcd611ad0f8e" providerId="LiveId" clId="{79D5096D-7AA8-46DB-ADD7-00C61D078B25}" dt="2026-03-31T14:30:36.228" v="11" actId="47"/>
        <pc:sldMkLst>
          <pc:docMk/>
          <pc:sldMk cId="1803023661" sldId="1875"/>
        </pc:sldMkLst>
      </pc:sldChg>
      <pc:sldChg chg="del">
        <pc:chgData name="Curtis Smith" userId="853fbcd611ad0f8e" providerId="LiveId" clId="{79D5096D-7AA8-46DB-ADD7-00C61D078B25}" dt="2026-03-31T14:36:17.944" v="112" actId="47"/>
        <pc:sldMkLst>
          <pc:docMk/>
          <pc:sldMk cId="548536490" sldId="1876"/>
        </pc:sldMkLst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2722661406" sldId="1877"/>
        </pc:sldMkLst>
        <pc:spChg chg="mod ord">
          <ac:chgData name="Curtis Smith" userId="853fbcd611ad0f8e" providerId="LiveId" clId="{79D5096D-7AA8-46DB-ADD7-00C61D078B25}" dt="2026-03-31T17:10:38.689" v="1131" actId="700"/>
          <ac:spMkLst>
            <pc:docMk/>
            <pc:sldMk cId="2722661406" sldId="1877"/>
            <ac:spMk id="4" creationId="{00000000-0000-0000-0000-000000000000}"/>
          </ac:spMkLst>
        </pc:spChg>
        <pc:spChg chg="del mod ord">
          <ac:chgData name="Curtis Smith" userId="853fbcd611ad0f8e" providerId="LiveId" clId="{79D5096D-7AA8-46DB-ADD7-00C61D078B25}" dt="2026-03-31T17:10:48.948" v="1134" actId="478"/>
          <ac:spMkLst>
            <pc:docMk/>
            <pc:sldMk cId="2722661406" sldId="1877"/>
            <ac:spMk id="5" creationId="{00000000-0000-0000-0000-000000000000}"/>
          </ac:spMkLst>
        </pc:spChg>
        <pc:spChg chg="mod">
          <ac:chgData name="Curtis Smith" userId="853fbcd611ad0f8e" providerId="LiveId" clId="{79D5096D-7AA8-46DB-ADD7-00C61D078B25}" dt="2026-03-31T17:11:28.315" v="1140" actId="207"/>
          <ac:spMkLst>
            <pc:docMk/>
            <pc:sldMk cId="2722661406" sldId="1877"/>
            <ac:spMk id="7" creationId="{79973AC6-F246-4727-97BF-8EBA42D76FAA}"/>
          </ac:spMkLst>
        </pc:spChg>
        <pc:picChg chg="add del mod">
          <ac:chgData name="Curtis Smith" userId="853fbcd611ad0f8e" providerId="LiveId" clId="{79D5096D-7AA8-46DB-ADD7-00C61D078B25}" dt="2026-03-31T17:11:08.446" v="1137" actId="1076"/>
          <ac:picMkLst>
            <pc:docMk/>
            <pc:sldMk cId="2722661406" sldId="1877"/>
            <ac:picMk id="1026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722661406" sldId="1877"/>
            <ac:cxnSpMk id="2" creationId="{4186214C-B0E5-4310-AFEF-7E48C6BCC958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722661406" sldId="1877"/>
            <ac:cxnSpMk id="3" creationId="{173C5691-5946-4519-8040-A498EA0EB9B1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722661406" sldId="1877"/>
            <ac:cxnSpMk id="5" creationId="{49416879-45BC-40DB-8522-DBB86317587C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722661406" sldId="1877"/>
            <ac:cxnSpMk id="6" creationId="{B40048B9-271D-4ABB-96E2-5A641CBB9442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722661406" sldId="1877"/>
            <ac:cxnSpMk id="8" creationId="{D23DF6BE-071A-41A6-840F-278EE0B5D036}"/>
          </ac:cxnSpMkLst>
        </pc:cxnChg>
      </pc:sldChg>
      <pc:sldChg chg="del">
        <pc:chgData name="Curtis Smith" userId="853fbcd611ad0f8e" providerId="LiveId" clId="{79D5096D-7AA8-46DB-ADD7-00C61D078B25}" dt="2026-03-31T14:31:17.294" v="14" actId="47"/>
        <pc:sldMkLst>
          <pc:docMk/>
          <pc:sldMk cId="1210553053" sldId="2419"/>
        </pc:sldMkLst>
      </pc:sldChg>
      <pc:sldChg chg="del">
        <pc:chgData name="Curtis Smith" userId="853fbcd611ad0f8e" providerId="LiveId" clId="{79D5096D-7AA8-46DB-ADD7-00C61D078B25}" dt="2026-03-31T14:31:18.005" v="15" actId="47"/>
        <pc:sldMkLst>
          <pc:docMk/>
          <pc:sldMk cId="1185014830" sldId="2420"/>
        </pc:sldMkLst>
      </pc:sldChg>
      <pc:sldChg chg="del">
        <pc:chgData name="Curtis Smith" userId="853fbcd611ad0f8e" providerId="LiveId" clId="{79D5096D-7AA8-46DB-ADD7-00C61D078B25}" dt="2026-03-31T14:31:25.911" v="22" actId="47"/>
        <pc:sldMkLst>
          <pc:docMk/>
          <pc:sldMk cId="353107566" sldId="2963"/>
        </pc:sldMkLst>
      </pc:sldChg>
      <pc:sldChg chg="del">
        <pc:chgData name="Curtis Smith" userId="853fbcd611ad0f8e" providerId="LiveId" clId="{79D5096D-7AA8-46DB-ADD7-00C61D078B25}" dt="2026-03-31T14:31:23.051" v="19" actId="47"/>
        <pc:sldMkLst>
          <pc:docMk/>
          <pc:sldMk cId="732210059" sldId="4845"/>
        </pc:sldMkLst>
      </pc:sldChg>
      <pc:sldChg chg="del">
        <pc:chgData name="Curtis Smith" userId="853fbcd611ad0f8e" providerId="LiveId" clId="{79D5096D-7AA8-46DB-ADD7-00C61D078B25}" dt="2026-03-31T14:31:18.499" v="16" actId="47"/>
        <pc:sldMkLst>
          <pc:docMk/>
          <pc:sldMk cId="2863164994" sldId="4846"/>
        </pc:sldMkLst>
      </pc:sldChg>
      <pc:sldChg chg="addSp delSp modSp mod modClrScheme chgLayout">
        <pc:chgData name="Curtis Smith" userId="853fbcd611ad0f8e" providerId="LiveId" clId="{79D5096D-7AA8-46DB-ADD7-00C61D078B25}" dt="2026-04-03T13:32:25.509" v="8093"/>
        <pc:sldMkLst>
          <pc:docMk/>
          <pc:sldMk cId="2705964123" sldId="4847"/>
        </pc:sldMkLst>
        <pc:spChg chg="del mod ord">
          <ac:chgData name="Curtis Smith" userId="853fbcd611ad0f8e" providerId="LiveId" clId="{79D5096D-7AA8-46DB-ADD7-00C61D078B25}" dt="2026-04-01T19:20:56.624" v="1269" actId="478"/>
          <ac:spMkLst>
            <pc:docMk/>
            <pc:sldMk cId="2705964123" sldId="4847"/>
            <ac:spMk id="2" creationId="{08FEDB0A-1623-45B7-88FC-6C23C7543A26}"/>
          </ac:spMkLst>
        </pc:spChg>
        <pc:spChg chg="mod ord">
          <ac:chgData name="Curtis Smith" userId="853fbcd611ad0f8e" providerId="LiveId" clId="{79D5096D-7AA8-46DB-ADD7-00C61D078B25}" dt="2026-04-01T19:20:52.785" v="1268" actId="700"/>
          <ac:spMkLst>
            <pc:docMk/>
            <pc:sldMk cId="2705964123" sldId="4847"/>
            <ac:spMk id="3" creationId="{4413B19F-9BDD-4A22-8C21-76E6A1847426}"/>
          </ac:spMkLst>
        </pc:spChg>
        <pc:spChg chg="add mod">
          <ac:chgData name="Curtis Smith" userId="853fbcd611ad0f8e" providerId="LiveId" clId="{79D5096D-7AA8-46DB-ADD7-00C61D078B25}" dt="2026-04-01T20:44:44.932" v="1469" actId="207"/>
          <ac:spMkLst>
            <pc:docMk/>
            <pc:sldMk cId="2705964123" sldId="4847"/>
            <ac:spMk id="5" creationId="{D418A469-622C-46F4-819D-7D1E69C61CD3}"/>
          </ac:spMkLst>
        </pc:spChg>
        <pc:spChg chg="add del mod">
          <ac:chgData name="Curtis Smith" userId="853fbcd611ad0f8e" providerId="LiveId" clId="{79D5096D-7AA8-46DB-ADD7-00C61D078B25}" dt="2026-04-02T02:36:07.371" v="3522"/>
          <ac:spMkLst>
            <pc:docMk/>
            <pc:sldMk cId="2705964123" sldId="4847"/>
            <ac:spMk id="6" creationId="{7E3DC075-EE18-475E-ADDE-59E65625665D}"/>
          </ac:spMkLst>
        </pc:spChg>
        <pc:picChg chg="mod">
          <ac:chgData name="Curtis Smith" userId="853fbcd611ad0f8e" providerId="LiveId" clId="{79D5096D-7AA8-46DB-ADD7-00C61D078B25}" dt="2026-04-01T19:21:23.437" v="1273" actId="14100"/>
          <ac:picMkLst>
            <pc:docMk/>
            <pc:sldMk cId="2705964123" sldId="4847"/>
            <ac:picMk id="4" creationId="{DB66EC39-CE92-45D1-9DF1-0AAF02E9DE21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705964123" sldId="4847"/>
            <ac:cxnSpMk id="2" creationId="{EA4F21E0-3FF8-458B-AA29-E509BDF135B8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705964123" sldId="4847"/>
            <ac:cxnSpMk id="7" creationId="{7DEC5B50-D7F9-465F-B3FB-7DF9DDCC7790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705964123" sldId="4847"/>
            <ac:cxnSpMk id="8" creationId="{6D0D4AE4-FC63-4D07-A81F-4DB4AA8366F2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705964123" sldId="4847"/>
            <ac:cxnSpMk id="9" creationId="{7BEB587F-C737-46E4-9D90-1E574A36B6D1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705964123" sldId="4847"/>
            <ac:cxnSpMk id="10" creationId="{5C21E057-2EAB-4990-A437-02D49FDAE701}"/>
          </ac:cxnSpMkLst>
        </pc:cxnChg>
      </pc:sldChg>
      <pc:sldChg chg="del">
        <pc:chgData name="Curtis Smith" userId="853fbcd611ad0f8e" providerId="LiveId" clId="{79D5096D-7AA8-46DB-ADD7-00C61D078B25}" dt="2026-04-02T00:23:19.653" v="2231" actId="47"/>
        <pc:sldMkLst>
          <pc:docMk/>
          <pc:sldMk cId="3453155046" sldId="4848"/>
        </pc:sldMkLst>
      </pc:sldChg>
      <pc:sldChg chg="del">
        <pc:chgData name="Curtis Smith" userId="853fbcd611ad0f8e" providerId="LiveId" clId="{79D5096D-7AA8-46DB-ADD7-00C61D078B25}" dt="2026-04-02T02:33:25.927" v="3498" actId="47"/>
        <pc:sldMkLst>
          <pc:docMk/>
          <pc:sldMk cId="1001171624" sldId="4849"/>
        </pc:sldMkLst>
      </pc:sldChg>
      <pc:sldChg chg="del">
        <pc:chgData name="Curtis Smith" userId="853fbcd611ad0f8e" providerId="LiveId" clId="{79D5096D-7AA8-46DB-ADD7-00C61D078B25}" dt="2026-04-02T02:44:29.978" v="3548" actId="47"/>
        <pc:sldMkLst>
          <pc:docMk/>
          <pc:sldMk cId="196047844" sldId="4850"/>
        </pc:sldMkLst>
      </pc:sldChg>
      <pc:sldChg chg="del">
        <pc:chgData name="Curtis Smith" userId="853fbcd611ad0f8e" providerId="LiveId" clId="{79D5096D-7AA8-46DB-ADD7-00C61D078B25}" dt="2026-04-01T19:38:37.646" v="1380" actId="47"/>
        <pc:sldMkLst>
          <pc:docMk/>
          <pc:sldMk cId="865695616" sldId="4851"/>
        </pc:sldMkLst>
      </pc:sldChg>
      <pc:sldChg chg="del">
        <pc:chgData name="Curtis Smith" userId="853fbcd611ad0f8e" providerId="LiveId" clId="{79D5096D-7AA8-46DB-ADD7-00C61D078B25}" dt="2026-03-31T14:31:24.358" v="20" actId="47"/>
        <pc:sldMkLst>
          <pc:docMk/>
          <pc:sldMk cId="1039535763" sldId="4852"/>
        </pc:sldMkLst>
      </pc:sldChg>
      <pc:sldChg chg="del">
        <pc:chgData name="Curtis Smith" userId="853fbcd611ad0f8e" providerId="LiveId" clId="{79D5096D-7AA8-46DB-ADD7-00C61D078B25}" dt="2026-03-31T14:31:25.037" v="21" actId="47"/>
        <pc:sldMkLst>
          <pc:docMk/>
          <pc:sldMk cId="3774398064" sldId="4853"/>
        </pc:sldMkLst>
      </pc:sldChg>
      <pc:sldChg chg="del">
        <pc:chgData name="Curtis Smith" userId="853fbcd611ad0f8e" providerId="LiveId" clId="{79D5096D-7AA8-46DB-ADD7-00C61D078B25}" dt="2026-03-31T14:30:48.743" v="12" actId="47"/>
        <pc:sldMkLst>
          <pc:docMk/>
          <pc:sldMk cId="1249961526" sldId="4854"/>
        </pc:sldMkLst>
      </pc:sldChg>
      <pc:sldChg chg="addSp delSp modSp new mod ord chgLayout">
        <pc:chgData name="Curtis Smith" userId="853fbcd611ad0f8e" providerId="LiveId" clId="{79D5096D-7AA8-46DB-ADD7-00C61D078B25}" dt="2026-04-03T13:32:25.509" v="8093"/>
        <pc:sldMkLst>
          <pc:docMk/>
          <pc:sldMk cId="2918020660" sldId="4855"/>
        </pc:sldMkLst>
        <pc:spChg chg="del mod ord">
          <ac:chgData name="Curtis Smith" userId="853fbcd611ad0f8e" providerId="LiveId" clId="{79D5096D-7AA8-46DB-ADD7-00C61D078B25}" dt="2026-03-31T16:52:55.174" v="990" actId="478"/>
          <ac:spMkLst>
            <pc:docMk/>
            <pc:sldMk cId="2918020660" sldId="4855"/>
            <ac:spMk id="2" creationId="{759249DA-4AA5-49F1-8E91-D32F6F563FF1}"/>
          </ac:spMkLst>
        </pc:spChg>
        <pc:spChg chg="add mod">
          <ac:chgData name="Curtis Smith" userId="853fbcd611ad0f8e" providerId="LiveId" clId="{79D5096D-7AA8-46DB-ADD7-00C61D078B25}" dt="2026-03-31T14:49:02.221" v="275" actId="20577"/>
          <ac:spMkLst>
            <pc:docMk/>
            <pc:sldMk cId="2918020660" sldId="4855"/>
            <ac:spMk id="5" creationId="{DA56A256-2A66-4967-B7A0-977052ED9EED}"/>
          </ac:spMkLst>
        </pc:spChg>
        <pc:spChg chg="add del mod">
          <ac:chgData name="Curtis Smith" userId="853fbcd611ad0f8e" providerId="LiveId" clId="{79D5096D-7AA8-46DB-ADD7-00C61D078B25}" dt="2026-03-31T16:52:51.161" v="989" actId="478"/>
          <ac:spMkLst>
            <pc:docMk/>
            <pc:sldMk cId="2918020660" sldId="4855"/>
            <ac:spMk id="6" creationId="{93689D97-0A5E-456E-A008-6E2359064C81}"/>
          </ac:spMkLst>
        </pc:spChg>
        <pc:spChg chg="add mod">
          <ac:chgData name="Curtis Smith" userId="853fbcd611ad0f8e" providerId="LiveId" clId="{79D5096D-7AA8-46DB-ADD7-00C61D078B25}" dt="2026-03-31T15:11:52.600" v="696" actId="14100"/>
          <ac:spMkLst>
            <pc:docMk/>
            <pc:sldMk cId="2918020660" sldId="4855"/>
            <ac:spMk id="7" creationId="{3A4A582B-4412-44A5-A005-2803BA726049}"/>
          </ac:spMkLst>
        </pc:spChg>
        <pc:spChg chg="add del mod">
          <ac:chgData name="Curtis Smith" userId="853fbcd611ad0f8e" providerId="LiveId" clId="{79D5096D-7AA8-46DB-ADD7-00C61D078B25}" dt="2026-03-31T16:52:46.093" v="988" actId="6264"/>
          <ac:spMkLst>
            <pc:docMk/>
            <pc:sldMk cId="2918020660" sldId="4855"/>
            <ac:spMk id="8" creationId="{9D7C4BD7-5454-4560-9B8F-E0BDBCA89C39}"/>
          </ac:spMkLst>
        </pc:spChg>
        <pc:spChg chg="add mod">
          <ac:chgData name="Curtis Smith" userId="853fbcd611ad0f8e" providerId="LiveId" clId="{79D5096D-7AA8-46DB-ADD7-00C61D078B25}" dt="2026-03-31T16:52:59.371" v="993"/>
          <ac:spMkLst>
            <pc:docMk/>
            <pc:sldMk cId="2918020660" sldId="4855"/>
            <ac:spMk id="9" creationId="{4DEC9453-C247-4F08-B941-E8BFEEA77629}"/>
          </ac:spMkLst>
        </pc:spChg>
        <pc:picChg chg="add mod">
          <ac:chgData name="Curtis Smith" userId="853fbcd611ad0f8e" providerId="LiveId" clId="{79D5096D-7AA8-46DB-ADD7-00C61D078B25}" dt="2026-03-31T15:09:26.180" v="600" actId="14100"/>
          <ac:picMkLst>
            <pc:docMk/>
            <pc:sldMk cId="2918020660" sldId="4855"/>
            <ac:picMk id="4" creationId="{E9DF5E6D-ADF3-4FD9-867C-434181674F5D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918020660" sldId="4855"/>
            <ac:cxnSpMk id="2" creationId="{A49EAF26-687C-4284-AAD0-B1C91D3132FD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918020660" sldId="4855"/>
            <ac:cxnSpMk id="3" creationId="{EB745EB3-EBD7-4EC7-856A-2D900CD499BE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918020660" sldId="4855"/>
            <ac:cxnSpMk id="6" creationId="{346DCA18-01EC-4E81-9F18-C5360A412369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918020660" sldId="4855"/>
            <ac:cxnSpMk id="8" creationId="{D8FEB788-AB6F-4303-A618-63894AB648DA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918020660" sldId="4855"/>
            <ac:cxnSpMk id="10" creationId="{1128CF1B-F285-4679-94F2-C3F194EA2ACA}"/>
          </ac:cxnSpMkLst>
        </pc:cxnChg>
      </pc:sldChg>
      <pc:sldChg chg="addSp delSp modSp add mod modClrScheme chgLayout">
        <pc:chgData name="Curtis Smith" userId="853fbcd611ad0f8e" providerId="LiveId" clId="{79D5096D-7AA8-46DB-ADD7-00C61D078B25}" dt="2026-04-03T13:32:25.509" v="8093"/>
        <pc:sldMkLst>
          <pc:docMk/>
          <pc:sldMk cId="1589333967" sldId="4856"/>
        </pc:sldMkLst>
        <pc:spChg chg="del">
          <ac:chgData name="Curtis Smith" userId="853fbcd611ad0f8e" providerId="LiveId" clId="{79D5096D-7AA8-46DB-ADD7-00C61D078B25}" dt="2026-03-31T15:04:15.076" v="498" actId="478"/>
          <ac:spMkLst>
            <pc:docMk/>
            <pc:sldMk cId="1589333967" sldId="4856"/>
            <ac:spMk id="2" creationId="{00000000-0000-0000-0000-000000000000}"/>
          </ac:spMkLst>
        </pc:spChg>
        <pc:spChg chg="del">
          <ac:chgData name="Curtis Smith" userId="853fbcd611ad0f8e" providerId="LiveId" clId="{79D5096D-7AA8-46DB-ADD7-00C61D078B25}" dt="2026-03-31T15:04:28.533" v="500" actId="478"/>
          <ac:spMkLst>
            <pc:docMk/>
            <pc:sldMk cId="1589333967" sldId="4856"/>
            <ac:spMk id="3" creationId="{64DF4085-D64A-416B-AA13-804330DD03B9}"/>
          </ac:spMkLst>
        </pc:spChg>
        <pc:spChg chg="del">
          <ac:chgData name="Curtis Smith" userId="853fbcd611ad0f8e" providerId="LiveId" clId="{79D5096D-7AA8-46DB-ADD7-00C61D078B25}" dt="2026-03-31T15:04:12.922" v="497" actId="478"/>
          <ac:spMkLst>
            <pc:docMk/>
            <pc:sldMk cId="1589333967" sldId="4856"/>
            <ac:spMk id="4" creationId="{00000000-0000-0000-0000-000000000000}"/>
          </ac:spMkLst>
        </pc:spChg>
        <pc:spChg chg="mod">
          <ac:chgData name="Curtis Smith" userId="853fbcd611ad0f8e" providerId="LiveId" clId="{79D5096D-7AA8-46DB-ADD7-00C61D078B25}" dt="2026-03-31T15:10:00.895" v="624" actId="14100"/>
          <ac:spMkLst>
            <pc:docMk/>
            <pc:sldMk cId="1589333967" sldId="4856"/>
            <ac:spMk id="5" creationId="{00000000-0000-0000-0000-000000000000}"/>
          </ac:spMkLst>
        </pc:spChg>
        <pc:spChg chg="add del mod">
          <ac:chgData name="Curtis Smith" userId="853fbcd611ad0f8e" providerId="LiveId" clId="{79D5096D-7AA8-46DB-ADD7-00C61D078B25}" dt="2026-03-31T15:04:22.406" v="499" actId="700"/>
          <ac:spMkLst>
            <pc:docMk/>
            <pc:sldMk cId="1589333967" sldId="4856"/>
            <ac:spMk id="7" creationId="{2169DACC-3CBD-4DB9-AE3B-BC1DDAD33BF9}"/>
          </ac:spMkLst>
        </pc:spChg>
        <pc:spChg chg="del">
          <ac:chgData name="Curtis Smith" userId="853fbcd611ad0f8e" providerId="LiveId" clId="{79D5096D-7AA8-46DB-ADD7-00C61D078B25}" dt="2026-03-31T15:04:11.284" v="496" actId="478"/>
          <ac:spMkLst>
            <pc:docMk/>
            <pc:sldMk cId="1589333967" sldId="4856"/>
            <ac:spMk id="9" creationId="{95AE9DCC-54F6-4A55-80BB-ACA5FDA0D673}"/>
          </ac:spMkLst>
        </pc:spChg>
        <pc:spChg chg="mod ord">
          <ac:chgData name="Curtis Smith" userId="853fbcd611ad0f8e" providerId="LiveId" clId="{79D5096D-7AA8-46DB-ADD7-00C61D078B25}" dt="2026-03-31T15:04:59.028" v="518" actId="1076"/>
          <ac:spMkLst>
            <pc:docMk/>
            <pc:sldMk cId="1589333967" sldId="4856"/>
            <ac:spMk id="11" creationId="{14AAC95E-4C63-42C4-8BDD-AF0924BA4AF8}"/>
          </ac:spMkLst>
        </pc:spChg>
        <pc:picChg chg="mod">
          <ac:chgData name="Curtis Smith" userId="853fbcd611ad0f8e" providerId="LiveId" clId="{79D5096D-7AA8-46DB-ADD7-00C61D078B25}" dt="2026-03-31T15:04:47.237" v="517" actId="14100"/>
          <ac:picMkLst>
            <pc:docMk/>
            <pc:sldMk cId="1589333967" sldId="4856"/>
            <ac:picMk id="1026" creationId="{00000000-0000-0000-0000-000000000000}"/>
          </ac:picMkLst>
        </pc:picChg>
        <pc:picChg chg="del">
          <ac:chgData name="Curtis Smith" userId="853fbcd611ad0f8e" providerId="LiveId" clId="{79D5096D-7AA8-46DB-ADD7-00C61D078B25}" dt="2026-03-31T15:04:08.824" v="495" actId="478"/>
          <ac:picMkLst>
            <pc:docMk/>
            <pc:sldMk cId="1589333967" sldId="4856"/>
            <ac:picMk id="1028" creationId="{00000000-0000-0000-0000-00000000000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589333967" sldId="4856"/>
            <ac:cxnSpMk id="2" creationId="{90BD854A-8A41-4198-A0BA-2482933E6E89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589333967" sldId="4856"/>
            <ac:cxnSpMk id="3" creationId="{BD9B8DE3-1930-45EC-9B83-9CCF407704A3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589333967" sldId="4856"/>
            <ac:cxnSpMk id="4" creationId="{2C2DF160-261D-410A-935B-240A48A138FD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589333967" sldId="4856"/>
            <ac:cxnSpMk id="6" creationId="{C85E0067-6D22-4C88-B2EE-B439B9D1A5B5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589333967" sldId="4856"/>
            <ac:cxnSpMk id="7" creationId="{07E33BFF-A388-49F6-B932-0911EB2A466A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845283247" sldId="4857"/>
        </pc:sldMkLst>
        <pc:spChg chg="add mod">
          <ac:chgData name="Curtis Smith" userId="853fbcd611ad0f8e" providerId="LiveId" clId="{79D5096D-7AA8-46DB-ADD7-00C61D078B25}" dt="2026-03-31T14:43:43.484" v="172" actId="121"/>
          <ac:spMkLst>
            <pc:docMk/>
            <pc:sldMk cId="845283247" sldId="4857"/>
            <ac:spMk id="5" creationId="{5567E89A-00A2-4406-8022-D8E4980C2AFA}"/>
          </ac:spMkLst>
        </pc:spChg>
        <pc:spChg chg="add mod">
          <ac:chgData name="Curtis Smith" userId="853fbcd611ad0f8e" providerId="LiveId" clId="{79D5096D-7AA8-46DB-ADD7-00C61D078B25}" dt="2026-03-31T14:44:51.806" v="197" actId="20577"/>
          <ac:spMkLst>
            <pc:docMk/>
            <pc:sldMk cId="845283247" sldId="4857"/>
            <ac:spMk id="6" creationId="{F7B10D28-8965-4085-9E28-2A78F5DD8C57}"/>
          </ac:spMkLst>
        </pc:spChg>
        <pc:spChg chg="add mod">
          <ac:chgData name="Curtis Smith" userId="853fbcd611ad0f8e" providerId="LiveId" clId="{79D5096D-7AA8-46DB-ADD7-00C61D078B25}" dt="2026-03-31T14:52:04.734" v="353" actId="207"/>
          <ac:spMkLst>
            <pc:docMk/>
            <pc:sldMk cId="845283247" sldId="4857"/>
            <ac:spMk id="7" creationId="{8775EEB2-3E9D-4D85-9B21-422BC6D2A480}"/>
          </ac:spMkLst>
        </pc:spChg>
        <pc:spChg chg="add mod">
          <ac:chgData name="Curtis Smith" userId="853fbcd611ad0f8e" providerId="LiveId" clId="{79D5096D-7AA8-46DB-ADD7-00C61D078B25}" dt="2026-03-31T14:51:39.722" v="349" actId="207"/>
          <ac:spMkLst>
            <pc:docMk/>
            <pc:sldMk cId="845283247" sldId="4857"/>
            <ac:spMk id="8" creationId="{4D6E46DF-092C-4407-93A2-0D115F71B722}"/>
          </ac:spMkLst>
        </pc:spChg>
        <pc:spChg chg="add mod">
          <ac:chgData name="Curtis Smith" userId="853fbcd611ad0f8e" providerId="LiveId" clId="{79D5096D-7AA8-46DB-ADD7-00C61D078B25}" dt="2026-03-31T15:05:15.332" v="520"/>
          <ac:spMkLst>
            <pc:docMk/>
            <pc:sldMk cId="845283247" sldId="4857"/>
            <ac:spMk id="9" creationId="{65C3AA46-02B5-41D7-8975-E1526437983F}"/>
          </ac:spMkLst>
        </pc:spChg>
        <pc:picChg chg="add mod">
          <ac:chgData name="Curtis Smith" userId="853fbcd611ad0f8e" providerId="LiveId" clId="{79D5096D-7AA8-46DB-ADD7-00C61D078B25}" dt="2026-03-31T15:00:26.540" v="377" actId="14100"/>
          <ac:picMkLst>
            <pc:docMk/>
            <pc:sldMk cId="845283247" sldId="4857"/>
            <ac:picMk id="1026" creationId="{3643CB14-1C2B-48EF-9A87-06EB30CF7FFF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845283247" sldId="4857"/>
            <ac:cxnSpMk id="3" creationId="{BCC3A0F7-1510-4520-8EDB-2A27DFD2AB2D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845283247" sldId="4857"/>
            <ac:cxnSpMk id="4" creationId="{F6E88C8A-CEA1-4EC0-B3C3-32D051DCD2AB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845283247" sldId="4857"/>
            <ac:cxnSpMk id="10" creationId="{915775DB-27DA-452B-894A-E44C5FE16FE8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845283247" sldId="4857"/>
            <ac:cxnSpMk id="11" creationId="{8505BCC2-6F48-437F-9D5E-E0DF5BEBB2BE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845283247" sldId="4857"/>
            <ac:cxnSpMk id="12" creationId="{327E02EB-C624-4857-B3FF-56C07DC4A53C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806794709" sldId="4858"/>
        </pc:sldMkLst>
        <pc:spChg chg="add mod">
          <ac:chgData name="Curtis Smith" userId="853fbcd611ad0f8e" providerId="LiveId" clId="{79D5096D-7AA8-46DB-ADD7-00C61D078B25}" dt="2026-03-31T15:03:30.364" v="494" actId="207"/>
          <ac:spMkLst>
            <pc:docMk/>
            <pc:sldMk cId="1806794709" sldId="4858"/>
            <ac:spMk id="6" creationId="{F9E7B77A-33D5-4786-B763-949244A23FC2}"/>
          </ac:spMkLst>
        </pc:spChg>
        <pc:spChg chg="add mod">
          <ac:chgData name="Curtis Smith" userId="853fbcd611ad0f8e" providerId="LiveId" clId="{79D5096D-7AA8-46DB-ADD7-00C61D078B25}" dt="2026-03-31T15:00:41.827" v="378"/>
          <ac:spMkLst>
            <pc:docMk/>
            <pc:sldMk cId="1806794709" sldId="4858"/>
            <ac:spMk id="7" creationId="{725905B5-51EB-49D6-B5CD-D34DAC1CBA61}"/>
          </ac:spMkLst>
        </pc:spChg>
        <pc:spChg chg="add mod">
          <ac:chgData name="Curtis Smith" userId="853fbcd611ad0f8e" providerId="LiveId" clId="{79D5096D-7AA8-46DB-ADD7-00C61D078B25}" dt="2026-03-31T15:05:14.064" v="519"/>
          <ac:spMkLst>
            <pc:docMk/>
            <pc:sldMk cId="1806794709" sldId="4858"/>
            <ac:spMk id="8" creationId="{FB0431F6-8216-4F0D-B2B9-1E9D0D0EAF89}"/>
          </ac:spMkLst>
        </pc:spChg>
        <pc:picChg chg="add mod">
          <ac:chgData name="Curtis Smith" userId="853fbcd611ad0f8e" providerId="LiveId" clId="{79D5096D-7AA8-46DB-ADD7-00C61D078B25}" dt="2026-03-31T14:59:55.983" v="371" actId="14100"/>
          <ac:picMkLst>
            <pc:docMk/>
            <pc:sldMk cId="1806794709" sldId="4858"/>
            <ac:picMk id="4" creationId="{675EB93B-EEB1-4A97-8E9D-4363CD2CA032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806794709" sldId="4858"/>
            <ac:cxnSpMk id="3" creationId="{2E28F7D1-9134-44C5-94CA-67E41908C635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806794709" sldId="4858"/>
            <ac:cxnSpMk id="5" creationId="{4A97EBC1-2BA3-45D9-9C7B-3552CA794F48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806794709" sldId="4858"/>
            <ac:cxnSpMk id="9" creationId="{B9FB8A69-7F49-49FC-B94A-F2447C6C913E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806794709" sldId="4858"/>
            <ac:cxnSpMk id="10" creationId="{C595D7FE-AFFA-4678-B06C-D4184F779482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806794709" sldId="4858"/>
            <ac:cxnSpMk id="11" creationId="{293406A6-9B81-4985-B7A4-C162D89A252D}"/>
          </ac:cxnSpMkLst>
        </pc:cxnChg>
      </pc:sldChg>
      <pc:sldChg chg="addSp delSp modSp new mod chgLayout">
        <pc:chgData name="Curtis Smith" userId="853fbcd611ad0f8e" providerId="LiveId" clId="{79D5096D-7AA8-46DB-ADD7-00C61D078B25}" dt="2026-04-03T13:32:25.509" v="8093"/>
        <pc:sldMkLst>
          <pc:docMk/>
          <pc:sldMk cId="1458448935" sldId="4859"/>
        </pc:sldMkLst>
        <pc:spChg chg="mod ord">
          <ac:chgData name="Curtis Smith" userId="853fbcd611ad0f8e" providerId="LiveId" clId="{79D5096D-7AA8-46DB-ADD7-00C61D078B25}" dt="2026-03-31T16:52:32.602" v="985" actId="6264"/>
          <ac:spMkLst>
            <pc:docMk/>
            <pc:sldMk cId="1458448935" sldId="4859"/>
            <ac:spMk id="2" creationId="{16AAE7A7-C5E1-4311-8EA4-C7958032243B}"/>
          </ac:spMkLst>
        </pc:spChg>
        <pc:spChg chg="add del mod">
          <ac:chgData name="Curtis Smith" userId="853fbcd611ad0f8e" providerId="LiveId" clId="{79D5096D-7AA8-46DB-ADD7-00C61D078B25}" dt="2026-03-31T16:50:38.125" v="949" actId="6264"/>
          <ac:spMkLst>
            <pc:docMk/>
            <pc:sldMk cId="1458448935" sldId="4859"/>
            <ac:spMk id="5" creationId="{6E655207-E0D2-4CAF-91DB-17D896926F57}"/>
          </ac:spMkLst>
        </pc:spChg>
        <pc:spChg chg="add del mod">
          <ac:chgData name="Curtis Smith" userId="853fbcd611ad0f8e" providerId="LiveId" clId="{79D5096D-7AA8-46DB-ADD7-00C61D078B25}" dt="2026-03-31T16:50:40.017" v="950" actId="6264"/>
          <ac:spMkLst>
            <pc:docMk/>
            <pc:sldMk cId="1458448935" sldId="4859"/>
            <ac:spMk id="6" creationId="{699B5C63-14BC-443A-8763-56A0E5DE53B6}"/>
          </ac:spMkLst>
        </pc:spChg>
        <pc:spChg chg="add del mod">
          <ac:chgData name="Curtis Smith" userId="853fbcd611ad0f8e" providerId="LiveId" clId="{79D5096D-7AA8-46DB-ADD7-00C61D078B25}" dt="2026-03-31T16:52:32.602" v="985" actId="6264"/>
          <ac:spMkLst>
            <pc:docMk/>
            <pc:sldMk cId="1458448935" sldId="4859"/>
            <ac:spMk id="7" creationId="{83E073B0-607E-4A00-B091-7C0900B99DDC}"/>
          </ac:spMkLst>
        </pc:spChg>
        <pc:spChg chg="add mod">
          <ac:chgData name="Curtis Smith" userId="853fbcd611ad0f8e" providerId="LiveId" clId="{79D5096D-7AA8-46DB-ADD7-00C61D078B25}" dt="2026-03-31T16:58:04.372" v="1045" actId="1076"/>
          <ac:spMkLst>
            <pc:docMk/>
            <pc:sldMk cId="1458448935" sldId="4859"/>
            <ac:spMk id="9" creationId="{FEF7A950-A1A6-4934-B50E-7CDBB984B261}"/>
          </ac:spMkLst>
        </pc:spChg>
        <pc:spChg chg="add del">
          <ac:chgData name="Curtis Smith" userId="853fbcd611ad0f8e" providerId="LiveId" clId="{79D5096D-7AA8-46DB-ADD7-00C61D078B25}" dt="2026-03-31T16:55:13.861" v="1031" actId="22"/>
          <ac:spMkLst>
            <pc:docMk/>
            <pc:sldMk cId="1458448935" sldId="4859"/>
            <ac:spMk id="11" creationId="{FAE122D9-1014-41F6-B4A1-524311E32938}"/>
          </ac:spMkLst>
        </pc:spChg>
        <pc:spChg chg="add mod">
          <ac:chgData name="Curtis Smith" userId="853fbcd611ad0f8e" providerId="LiveId" clId="{79D5096D-7AA8-46DB-ADD7-00C61D078B25}" dt="2026-03-31T16:55:25.175" v="1033" actId="14100"/>
          <ac:spMkLst>
            <pc:docMk/>
            <pc:sldMk cId="1458448935" sldId="4859"/>
            <ac:spMk id="12" creationId="{B86FC32F-994C-4FD2-8F49-22658CDE41E9}"/>
          </ac:spMkLst>
        </pc:spChg>
        <pc:picChg chg="add mod">
          <ac:chgData name="Curtis Smith" userId="853fbcd611ad0f8e" providerId="LiveId" clId="{79D5096D-7AA8-46DB-ADD7-00C61D078B25}" dt="2026-03-31T16:50:05.980" v="912" actId="14100"/>
          <ac:picMkLst>
            <pc:docMk/>
            <pc:sldMk cId="1458448935" sldId="4859"/>
            <ac:picMk id="4" creationId="{C7293431-929D-47F6-877F-288BEE9FEC25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458448935" sldId="4859"/>
            <ac:cxnSpMk id="3" creationId="{0F72C20A-FBDB-49BC-9C29-21B892A8518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458448935" sldId="4859"/>
            <ac:cxnSpMk id="5" creationId="{306A0998-223B-48E8-BBF4-14EE182C2EE4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458448935" sldId="4859"/>
            <ac:cxnSpMk id="6" creationId="{06F3DABC-F54A-467E-93FB-90BA4F960F7B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458448935" sldId="4859"/>
            <ac:cxnSpMk id="7" creationId="{2C03786B-E467-455B-82A5-9AE51A54061E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458448935" sldId="4859"/>
            <ac:cxnSpMk id="8" creationId="{608D8340-F19B-4F98-8E74-5C84F9DA3493}"/>
          </ac:cxnSpMkLst>
        </pc:cxnChg>
      </pc:sldChg>
      <pc:sldChg chg="addSp delSp modSp new del mod chgLayout">
        <pc:chgData name="Curtis Smith" userId="853fbcd611ad0f8e" providerId="LiveId" clId="{79D5096D-7AA8-46DB-ADD7-00C61D078B25}" dt="2026-04-01T19:20:39.075" v="1267" actId="47"/>
        <pc:sldMkLst>
          <pc:docMk/>
          <pc:sldMk cId="4260370937" sldId="4860"/>
        </pc:sldMkLst>
        <pc:spChg chg="mod ord">
          <ac:chgData name="Curtis Smith" userId="853fbcd611ad0f8e" providerId="LiveId" clId="{79D5096D-7AA8-46DB-ADD7-00C61D078B25}" dt="2026-03-31T16:52:28.662" v="984" actId="6264"/>
          <ac:spMkLst>
            <pc:docMk/>
            <pc:sldMk cId="4260370937" sldId="4860"/>
            <ac:spMk id="2" creationId="{A5AC8F5E-9D4B-47BF-93CA-C04E91A314CB}"/>
          </ac:spMkLst>
        </pc:spChg>
        <pc:spChg chg="add del mod">
          <ac:chgData name="Curtis Smith" userId="853fbcd611ad0f8e" providerId="LiveId" clId="{79D5096D-7AA8-46DB-ADD7-00C61D078B25}" dt="2026-03-31T16:51:46.388" v="963" actId="6264"/>
          <ac:spMkLst>
            <pc:docMk/>
            <pc:sldMk cId="4260370937" sldId="4860"/>
            <ac:spMk id="3" creationId="{066FEEFB-ECD4-41FE-BDDB-A73F3F55D279}"/>
          </ac:spMkLst>
        </pc:spChg>
        <pc:spChg chg="add del mod">
          <ac:chgData name="Curtis Smith" userId="853fbcd611ad0f8e" providerId="LiveId" clId="{79D5096D-7AA8-46DB-ADD7-00C61D078B25}" dt="2026-03-31T16:52:28.662" v="984" actId="6264"/>
          <ac:spMkLst>
            <pc:docMk/>
            <pc:sldMk cId="4260370937" sldId="4860"/>
            <ac:spMk id="4" creationId="{07DF6240-28E9-42A3-AEAA-6163FF54EEB6}"/>
          </ac:spMkLst>
        </pc:spChg>
      </pc:sldChg>
      <pc:sldChg chg="modSp add del mod modClrScheme chgLayout">
        <pc:chgData name="Curtis Smith" userId="853fbcd611ad0f8e" providerId="LiveId" clId="{79D5096D-7AA8-46DB-ADD7-00C61D078B25}" dt="2026-04-01T21:21:39.912" v="2044" actId="47"/>
        <pc:sldMkLst>
          <pc:docMk/>
          <pc:sldMk cId="347469404" sldId="6518"/>
        </pc:sldMkLst>
        <pc:spChg chg="mod ord">
          <ac:chgData name="Curtis Smith" userId="853fbcd611ad0f8e" providerId="LiveId" clId="{79D5096D-7AA8-46DB-ADD7-00C61D078B25}" dt="2026-03-31T17:08:17.397" v="1121" actId="700"/>
          <ac:spMkLst>
            <pc:docMk/>
            <pc:sldMk cId="347469404" sldId="6518"/>
            <ac:spMk id="2" creationId="{79B9C552-54FB-3940-92E3-495A37583C92}"/>
          </ac:spMkLst>
        </pc:sp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457345027" sldId="6519"/>
        </pc:sldMkLst>
        <pc:spChg chg="add mod">
          <ac:chgData name="Curtis Smith" userId="853fbcd611ad0f8e" providerId="LiveId" clId="{79D5096D-7AA8-46DB-ADD7-00C61D078B25}" dt="2026-04-02T02:30:05.573" v="3307" actId="14100"/>
          <ac:spMkLst>
            <pc:docMk/>
            <pc:sldMk cId="1457345027" sldId="6519"/>
            <ac:spMk id="5" creationId="{7C0C263C-1A9C-4756-A765-2C53ED323114}"/>
          </ac:spMkLst>
        </pc:spChg>
        <pc:spChg chg="add mod">
          <ac:chgData name="Curtis Smith" userId="853fbcd611ad0f8e" providerId="LiveId" clId="{79D5096D-7AA8-46DB-ADD7-00C61D078B25}" dt="2026-04-02T02:05:56.168" v="3086" actId="20577"/>
          <ac:spMkLst>
            <pc:docMk/>
            <pc:sldMk cId="1457345027" sldId="6519"/>
            <ac:spMk id="6" creationId="{591BC0AB-DEC5-48AE-A88D-FD30D2A63C0D}"/>
          </ac:spMkLst>
        </pc:spChg>
        <pc:picChg chg="add del mod">
          <ac:chgData name="Curtis Smith" userId="853fbcd611ad0f8e" providerId="LiveId" clId="{79D5096D-7AA8-46DB-ADD7-00C61D078B25}" dt="2026-03-31T17:09:27.702" v="1125" actId="478"/>
          <ac:picMkLst>
            <pc:docMk/>
            <pc:sldMk cId="1457345027" sldId="6519"/>
            <ac:picMk id="3" creationId="{AAA43A5F-FEE9-4476-B5C0-CECE0C15E159}"/>
          </ac:picMkLst>
        </pc:picChg>
        <pc:picChg chg="add mod modCrop">
          <ac:chgData name="Curtis Smith" userId="853fbcd611ad0f8e" providerId="LiveId" clId="{79D5096D-7AA8-46DB-ADD7-00C61D078B25}" dt="2026-03-31T17:10:15.329" v="1130" actId="14100"/>
          <ac:picMkLst>
            <pc:docMk/>
            <pc:sldMk cId="1457345027" sldId="6519"/>
            <ac:picMk id="4" creationId="{F43D3E92-94D5-43A3-89E4-994B3A08C6D2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457345027" sldId="6519"/>
            <ac:cxnSpMk id="3" creationId="{CAE4B4B3-C8F5-445D-A6EF-236B0547BFC4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457345027" sldId="6519"/>
            <ac:cxnSpMk id="7" creationId="{8C4653B5-6A82-48E3-B8D6-2B3D2BA3BD65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457345027" sldId="6519"/>
            <ac:cxnSpMk id="8" creationId="{6E540AE3-5D53-48FF-A83B-816D46172697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457345027" sldId="6519"/>
            <ac:cxnSpMk id="9" creationId="{DBD0FB1B-C769-4A06-B79E-DC4DAE648E51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457345027" sldId="6519"/>
            <ac:cxnSpMk id="10" creationId="{3E59BF70-7FF8-4842-8128-46CED45E222C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132796151" sldId="6520"/>
        </pc:sldMkLst>
        <pc:spChg chg="add mod">
          <ac:chgData name="Curtis Smith" userId="853fbcd611ad0f8e" providerId="LiveId" clId="{79D5096D-7AA8-46DB-ADD7-00C61D078B25}" dt="2026-04-01T19:38:18.980" v="1379" actId="14100"/>
          <ac:spMkLst>
            <pc:docMk/>
            <pc:sldMk cId="1132796151" sldId="6520"/>
            <ac:spMk id="6" creationId="{65D44080-5964-4EAA-A9C4-928BA1D19935}"/>
          </ac:spMkLst>
        </pc:spChg>
        <pc:spChg chg="add del">
          <ac:chgData name="Curtis Smith" userId="853fbcd611ad0f8e" providerId="LiveId" clId="{79D5096D-7AA8-46DB-ADD7-00C61D078B25}" dt="2026-04-01T19:35:18.024" v="1310" actId="478"/>
          <ac:spMkLst>
            <pc:docMk/>
            <pc:sldMk cId="1132796151" sldId="6520"/>
            <ac:spMk id="7" creationId="{489DAD86-2169-49D5-8411-57EFF3AEC04B}"/>
          </ac:spMkLst>
        </pc:spChg>
        <pc:spChg chg="add mod">
          <ac:chgData name="Curtis Smith" userId="853fbcd611ad0f8e" providerId="LiveId" clId="{79D5096D-7AA8-46DB-ADD7-00C61D078B25}" dt="2026-04-01T20:44:49.456" v="1471" actId="207"/>
          <ac:spMkLst>
            <pc:docMk/>
            <pc:sldMk cId="1132796151" sldId="6520"/>
            <ac:spMk id="9" creationId="{5926BF3E-F48F-4125-A65E-231AEA26AEDD}"/>
          </ac:spMkLst>
        </pc:spChg>
        <pc:picChg chg="add mod">
          <ac:chgData name="Curtis Smith" userId="853fbcd611ad0f8e" providerId="LiveId" clId="{79D5096D-7AA8-46DB-ADD7-00C61D078B25}" dt="2026-04-01T19:32:51.969" v="1277" actId="14100"/>
          <ac:picMkLst>
            <pc:docMk/>
            <pc:sldMk cId="1132796151" sldId="6520"/>
            <ac:picMk id="4" creationId="{2B76C63D-0FD8-4E7C-9C65-AA0EB1119F94}"/>
          </ac:picMkLst>
        </pc:picChg>
        <pc:picChg chg="add mod">
          <ac:chgData name="Curtis Smith" userId="853fbcd611ad0f8e" providerId="LiveId" clId="{79D5096D-7AA8-46DB-ADD7-00C61D078B25}" dt="2026-04-01T19:36:20.158" v="1340" actId="14100"/>
          <ac:picMkLst>
            <pc:docMk/>
            <pc:sldMk cId="1132796151" sldId="6520"/>
            <ac:picMk id="8" creationId="{6098B73F-596B-436B-903B-A0EDC9CB9555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132796151" sldId="6520"/>
            <ac:cxnSpMk id="3" creationId="{D0C5997D-26A2-4D9B-BDD9-F087AFC52E60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132796151" sldId="6520"/>
            <ac:cxnSpMk id="5" creationId="{C206CA65-B0A0-4C8E-A6F4-7E68FB8462CF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132796151" sldId="6520"/>
            <ac:cxnSpMk id="7" creationId="{61AF3585-FFB7-4496-8C90-778A6E4E2A08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132796151" sldId="6520"/>
            <ac:cxnSpMk id="10" creationId="{D2827CAD-E0ED-4F92-9F62-02A7BE255E1C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132796151" sldId="6520"/>
            <ac:cxnSpMk id="11" creationId="{3F6A97EF-F6AA-4BB3-B71D-0EB488EC65F1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528464671" sldId="6521"/>
        </pc:sldMkLst>
        <pc:spChg chg="add mod">
          <ac:chgData name="Curtis Smith" userId="853fbcd611ad0f8e" providerId="LiveId" clId="{79D5096D-7AA8-46DB-ADD7-00C61D078B25}" dt="2026-04-01T20:44:10.652" v="1467" actId="6549"/>
          <ac:spMkLst>
            <pc:docMk/>
            <pc:sldMk cId="1528464671" sldId="6521"/>
            <ac:spMk id="6" creationId="{1C5A1C1A-053F-496F-9D05-D7D492185706}"/>
          </ac:spMkLst>
        </pc:spChg>
        <pc:spChg chg="add mod">
          <ac:chgData name="Curtis Smith" userId="853fbcd611ad0f8e" providerId="LiveId" clId="{79D5096D-7AA8-46DB-ADD7-00C61D078B25}" dt="2026-04-01T20:44:51.058" v="1472"/>
          <ac:spMkLst>
            <pc:docMk/>
            <pc:sldMk cId="1528464671" sldId="6521"/>
            <ac:spMk id="7" creationId="{FC40003A-907B-48C3-8E83-F64449D08E28}"/>
          </ac:spMkLst>
        </pc:spChg>
        <pc:picChg chg="add mod">
          <ac:chgData name="Curtis Smith" userId="853fbcd611ad0f8e" providerId="LiveId" clId="{79D5096D-7AA8-46DB-ADD7-00C61D078B25}" dt="2026-04-01T19:45:47.441" v="1384" actId="14100"/>
          <ac:picMkLst>
            <pc:docMk/>
            <pc:sldMk cId="1528464671" sldId="6521"/>
            <ac:picMk id="4" creationId="{08E9E31D-5A79-45EB-AD6E-61AA30CD582F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528464671" sldId="6521"/>
            <ac:cxnSpMk id="3" creationId="{451037C1-9EF9-4766-9C8C-4BAC56A957FB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528464671" sldId="6521"/>
            <ac:cxnSpMk id="5" creationId="{F1A0710F-A407-4EAD-B171-C258E9E39C58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528464671" sldId="6521"/>
            <ac:cxnSpMk id="8" creationId="{68892E13-8F3B-41BE-922E-3B996A39D193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528464671" sldId="6521"/>
            <ac:cxnSpMk id="9" creationId="{828342DB-55E2-43B4-908C-8F988B1C903D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528464671" sldId="6521"/>
            <ac:cxnSpMk id="10" creationId="{9047D914-413D-48D4-8026-FFB32ADDE3AD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975827597" sldId="6522"/>
        </pc:sldMkLst>
        <pc:spChg chg="add mod">
          <ac:chgData name="Curtis Smith" userId="853fbcd611ad0f8e" providerId="LiveId" clId="{79D5096D-7AA8-46DB-ADD7-00C61D078B25}" dt="2026-04-01T20:52:56.192" v="1478"/>
          <ac:spMkLst>
            <pc:docMk/>
            <pc:sldMk cId="1975827597" sldId="6522"/>
            <ac:spMk id="5" creationId="{DCF85201-A507-47C1-BA13-1020FBC056FE}"/>
          </ac:spMkLst>
        </pc:spChg>
        <pc:spChg chg="add mod">
          <ac:chgData name="Curtis Smith" userId="853fbcd611ad0f8e" providerId="LiveId" clId="{79D5096D-7AA8-46DB-ADD7-00C61D078B25}" dt="2026-04-01T21:07:39.827" v="1784" actId="14100"/>
          <ac:spMkLst>
            <pc:docMk/>
            <pc:sldMk cId="1975827597" sldId="6522"/>
            <ac:spMk id="7" creationId="{9DDE22E1-B590-4078-AFB7-1EB625C5444A}"/>
          </ac:spMkLst>
        </pc:spChg>
        <pc:picChg chg="add mod">
          <ac:chgData name="Curtis Smith" userId="853fbcd611ad0f8e" providerId="LiveId" clId="{79D5096D-7AA8-46DB-ADD7-00C61D078B25}" dt="2026-04-01T20:57:51.455" v="1665" actId="1076"/>
          <ac:picMkLst>
            <pc:docMk/>
            <pc:sldMk cId="1975827597" sldId="6522"/>
            <ac:picMk id="4" creationId="{7E9D77A9-3296-4645-8BE6-31EF8905A3D6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975827597" sldId="6522"/>
            <ac:cxnSpMk id="3" creationId="{7C1B571C-8F92-4AC2-BE99-F6D04994BC2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975827597" sldId="6522"/>
            <ac:cxnSpMk id="6" creationId="{07AFF085-3C05-4F33-B6BD-279E7433D9B0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975827597" sldId="6522"/>
            <ac:cxnSpMk id="8" creationId="{A59AE3D8-EFAF-4D37-BB13-6CCA78A943D4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975827597" sldId="6522"/>
            <ac:cxnSpMk id="9" creationId="{71025022-259F-4E96-AB53-35DF2D78CF38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975827597" sldId="6522"/>
            <ac:cxnSpMk id="10" creationId="{9C0CA09E-B1EF-42C9-BBBA-D9170B6E5D23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062764317" sldId="6523"/>
        </pc:sldMkLst>
        <pc:spChg chg="add mod">
          <ac:chgData name="Curtis Smith" userId="853fbcd611ad0f8e" providerId="LiveId" clId="{79D5096D-7AA8-46DB-ADD7-00C61D078B25}" dt="2026-04-01T21:03:57.450" v="1678"/>
          <ac:spMkLst>
            <pc:docMk/>
            <pc:sldMk cId="1062764317" sldId="6523"/>
            <ac:spMk id="5" creationId="{C5EC505F-96F0-4933-8766-D60E8A0A7BCB}"/>
          </ac:spMkLst>
        </pc:spChg>
        <pc:picChg chg="add mod">
          <ac:chgData name="Curtis Smith" userId="853fbcd611ad0f8e" providerId="LiveId" clId="{79D5096D-7AA8-46DB-ADD7-00C61D078B25}" dt="2026-04-01T21:03:50.420" v="1677" actId="14100"/>
          <ac:picMkLst>
            <pc:docMk/>
            <pc:sldMk cId="1062764317" sldId="6523"/>
            <ac:picMk id="4" creationId="{A12773B8-A529-4222-AFEE-41721AC2D05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062764317" sldId="6523"/>
            <ac:cxnSpMk id="3" creationId="{F588C2A4-D13B-4DBF-89CC-01B11446ECEB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062764317" sldId="6523"/>
            <ac:cxnSpMk id="6" creationId="{053CA318-B528-4527-9A97-498D536E0169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062764317" sldId="6523"/>
            <ac:cxnSpMk id="7" creationId="{7E41199E-C045-4073-B0EB-4F378D54A3BC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062764317" sldId="6523"/>
            <ac:cxnSpMk id="8" creationId="{70D25A68-DD85-46CC-B35B-E2F5C62DA49D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062764317" sldId="6523"/>
            <ac:cxnSpMk id="9" creationId="{4ACEFECB-4ECF-4AEC-8FA1-1489C9120051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2527924517" sldId="6524"/>
        </pc:sldMkLst>
        <pc:spChg chg="add mod">
          <ac:chgData name="Curtis Smith" userId="853fbcd611ad0f8e" providerId="LiveId" clId="{79D5096D-7AA8-46DB-ADD7-00C61D078B25}" dt="2026-04-01T21:06:32.778" v="1781"/>
          <ac:spMkLst>
            <pc:docMk/>
            <pc:sldMk cId="2527924517" sldId="6524"/>
            <ac:spMk id="3" creationId="{2C24B685-AFB2-4378-B833-13CF5E54B3B8}"/>
          </ac:spMkLst>
        </pc:sp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527924517" sldId="6524"/>
            <ac:cxnSpMk id="4" creationId="{15C5A4D0-A62B-4A8B-8E68-010EE3362352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527924517" sldId="6524"/>
            <ac:cxnSpMk id="5" creationId="{54FE9C44-CBBA-4A7B-9F73-A79F0C181CC6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527924517" sldId="6524"/>
            <ac:cxnSpMk id="6" creationId="{80526CB1-BED1-49C0-AAE7-459F9B169603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527924517" sldId="6524"/>
            <ac:cxnSpMk id="7" creationId="{6116BC2F-FE4E-4571-B333-2CAC6D9FA4CE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527924517" sldId="6524"/>
            <ac:cxnSpMk id="8" creationId="{3E8EEFE4-9A82-4621-B9AF-98D0629D37D7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346695377" sldId="6525"/>
        </pc:sldMkLst>
        <pc:spChg chg="add mod">
          <ac:chgData name="Curtis Smith" userId="853fbcd611ad0f8e" providerId="LiveId" clId="{79D5096D-7AA8-46DB-ADD7-00C61D078B25}" dt="2026-04-02T01:45:16.024" v="2757" actId="20577"/>
          <ac:spMkLst>
            <pc:docMk/>
            <pc:sldMk cId="1346695377" sldId="6525"/>
            <ac:spMk id="5" creationId="{7377334F-B61A-40DF-A3A2-59D7F1321295}"/>
          </ac:spMkLst>
        </pc:spChg>
        <pc:spChg chg="add mod">
          <ac:chgData name="Curtis Smith" userId="853fbcd611ad0f8e" providerId="LiveId" clId="{79D5096D-7AA8-46DB-ADD7-00C61D078B25}" dt="2026-04-01T21:26:29.531" v="2051"/>
          <ac:spMkLst>
            <pc:docMk/>
            <pc:sldMk cId="1346695377" sldId="6525"/>
            <ac:spMk id="6" creationId="{700F1A75-5E3B-4BF9-9FD0-B28D7F9E6B90}"/>
          </ac:spMkLst>
        </pc:spChg>
        <pc:picChg chg="add mod">
          <ac:chgData name="Curtis Smith" userId="853fbcd611ad0f8e" providerId="LiveId" clId="{79D5096D-7AA8-46DB-ADD7-00C61D078B25}" dt="2026-04-01T21:17:09.037" v="1944"/>
          <ac:picMkLst>
            <pc:docMk/>
            <pc:sldMk cId="1346695377" sldId="6525"/>
            <ac:picMk id="4" creationId="{3A9596C5-BB04-404B-B81C-49B62D1FE440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346695377" sldId="6525"/>
            <ac:cxnSpMk id="3" creationId="{C2C7EAA8-6C10-4A6F-AC38-22686EAEC9C2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346695377" sldId="6525"/>
            <ac:cxnSpMk id="7" creationId="{32BD1183-C7E5-41F3-9B50-13496561B4AA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346695377" sldId="6525"/>
            <ac:cxnSpMk id="8" creationId="{84D71036-49F9-437B-83FF-C64475A84902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346695377" sldId="6525"/>
            <ac:cxnSpMk id="9" creationId="{62DA7567-B497-4D8F-9881-88F479452EF6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346695377" sldId="6525"/>
            <ac:cxnSpMk id="10" creationId="{E3EC972A-AC74-431F-BBB9-8F17DFB64BA4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215854103" sldId="6526"/>
        </pc:sldMkLst>
        <pc:spChg chg="add mod">
          <ac:chgData name="Curtis Smith" userId="853fbcd611ad0f8e" providerId="LiveId" clId="{79D5096D-7AA8-46DB-ADD7-00C61D078B25}" dt="2026-04-01T21:26:40.740" v="2053" actId="1076"/>
          <ac:spMkLst>
            <pc:docMk/>
            <pc:sldMk cId="215854103" sldId="6526"/>
            <ac:spMk id="5" creationId="{6E4D4D15-6A16-410B-9004-9738B6F3FB68}"/>
          </ac:spMkLst>
        </pc:spChg>
        <pc:picChg chg="add mod">
          <ac:chgData name="Curtis Smith" userId="853fbcd611ad0f8e" providerId="LiveId" clId="{79D5096D-7AA8-46DB-ADD7-00C61D078B25}" dt="2026-04-01T21:25:59.990" v="2050" actId="14100"/>
          <ac:picMkLst>
            <pc:docMk/>
            <pc:sldMk cId="215854103" sldId="6526"/>
            <ac:picMk id="4" creationId="{94A57CDE-E85D-41F1-A8F0-A9C6487B415B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15854103" sldId="6526"/>
            <ac:cxnSpMk id="3" creationId="{193BD158-019A-476A-8802-0731A1E4B3E2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15854103" sldId="6526"/>
            <ac:cxnSpMk id="6" creationId="{7F125B59-B698-4EA9-8B19-C0C21C3730D6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15854103" sldId="6526"/>
            <ac:cxnSpMk id="7" creationId="{39BAE1A3-491A-4D66-B950-7734FA3D2621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15854103" sldId="6526"/>
            <ac:cxnSpMk id="8" creationId="{0E540B39-FED9-42B7-9725-804A1BC1631A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15854103" sldId="6526"/>
            <ac:cxnSpMk id="9" creationId="{5B24EA6E-9AC9-45EB-83A1-3760C35105FC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4237081307" sldId="6527"/>
        </pc:sldMkLst>
        <pc:spChg chg="add mod">
          <ac:chgData name="Curtis Smith" userId="853fbcd611ad0f8e" providerId="LiveId" clId="{79D5096D-7AA8-46DB-ADD7-00C61D078B25}" dt="2026-04-02T00:16:10.205" v="2132" actId="1076"/>
          <ac:spMkLst>
            <pc:docMk/>
            <pc:sldMk cId="4237081307" sldId="6527"/>
            <ac:spMk id="6" creationId="{03B576AA-E22F-4364-AA01-F3462169F547}"/>
          </ac:spMkLst>
        </pc:spChg>
        <pc:spChg chg="add mod">
          <ac:chgData name="Curtis Smith" userId="853fbcd611ad0f8e" providerId="LiveId" clId="{79D5096D-7AA8-46DB-ADD7-00C61D078B25}" dt="2026-04-02T00:21:25.514" v="2201" actId="1076"/>
          <ac:spMkLst>
            <pc:docMk/>
            <pc:sldMk cId="4237081307" sldId="6527"/>
            <ac:spMk id="7" creationId="{0F37B7F5-8031-4015-A647-97479603F887}"/>
          </ac:spMkLst>
        </pc:spChg>
        <pc:spChg chg="add mod">
          <ac:chgData name="Curtis Smith" userId="853fbcd611ad0f8e" providerId="LiveId" clId="{79D5096D-7AA8-46DB-ADD7-00C61D078B25}" dt="2026-04-02T02:44:56.430" v="3549" actId="6549"/>
          <ac:spMkLst>
            <pc:docMk/>
            <pc:sldMk cId="4237081307" sldId="6527"/>
            <ac:spMk id="8" creationId="{115749F4-DF80-44BA-B6AD-26E1DE518B04}"/>
          </ac:spMkLst>
        </pc:spChg>
        <pc:spChg chg="add mod">
          <ac:chgData name="Curtis Smith" userId="853fbcd611ad0f8e" providerId="LiveId" clId="{79D5096D-7AA8-46DB-ADD7-00C61D078B25}" dt="2026-04-02T00:18:43.631" v="2189"/>
          <ac:spMkLst>
            <pc:docMk/>
            <pc:sldMk cId="4237081307" sldId="6527"/>
            <ac:spMk id="9" creationId="{0860695F-EBFB-4A93-A772-C0429768EBBA}"/>
          </ac:spMkLst>
        </pc:spChg>
        <pc:spChg chg="add mod">
          <ac:chgData name="Curtis Smith" userId="853fbcd611ad0f8e" providerId="LiveId" clId="{79D5096D-7AA8-46DB-ADD7-00C61D078B25}" dt="2026-04-02T02:33:17.566" v="3497" actId="1076"/>
          <ac:spMkLst>
            <pc:docMk/>
            <pc:sldMk cId="4237081307" sldId="6527"/>
            <ac:spMk id="10" creationId="{2FDE6AC1-5B00-42CF-80B1-B7FF7C60BD45}"/>
          </ac:spMkLst>
        </pc:spChg>
        <pc:spChg chg="add del">
          <ac:chgData name="Curtis Smith" userId="853fbcd611ad0f8e" providerId="LiveId" clId="{79D5096D-7AA8-46DB-ADD7-00C61D078B25}" dt="2026-04-02T00:18:48.651" v="2191" actId="22"/>
          <ac:spMkLst>
            <pc:docMk/>
            <pc:sldMk cId="4237081307" sldId="6527"/>
            <ac:spMk id="11" creationId="{7493F82A-6951-4C85-95DA-20D86196AF12}"/>
          </ac:spMkLst>
        </pc:spChg>
        <pc:picChg chg="add mod">
          <ac:chgData name="Curtis Smith" userId="853fbcd611ad0f8e" providerId="LiveId" clId="{79D5096D-7AA8-46DB-ADD7-00C61D078B25}" dt="2026-04-02T00:15:48.304" v="2120" actId="14100"/>
          <ac:picMkLst>
            <pc:docMk/>
            <pc:sldMk cId="4237081307" sldId="6527"/>
            <ac:picMk id="4" creationId="{8D18EA19-48D0-4137-AB57-92496364CFFE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4237081307" sldId="6527"/>
            <ac:cxnSpMk id="5" creationId="{2F6633C4-4820-4338-AB68-03F233FB97A5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4237081307" sldId="6527"/>
            <ac:cxnSpMk id="11" creationId="{760E8DA6-B912-4DB8-B136-454A50FAC467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4237081307" sldId="6527"/>
            <ac:cxnSpMk id="12" creationId="{422FA67F-9A73-4D8F-BADD-C8A67806C6C2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4237081307" sldId="6527"/>
            <ac:cxnSpMk id="13" creationId="{836D70C3-1BCC-4817-A5B6-E888AE0C816C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4237081307" sldId="6527"/>
            <ac:cxnSpMk id="14" creationId="{A7147679-537A-4994-93DE-C0880B2DB337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576756538" sldId="6528"/>
        </pc:sldMkLst>
        <pc:spChg chg="add mod">
          <ac:chgData name="Curtis Smith" userId="853fbcd611ad0f8e" providerId="LiveId" clId="{79D5096D-7AA8-46DB-ADD7-00C61D078B25}" dt="2026-04-02T01:15:35.043" v="2299" actId="20577"/>
          <ac:spMkLst>
            <pc:docMk/>
            <pc:sldMk cId="1576756538" sldId="6528"/>
            <ac:spMk id="6" creationId="{CFA2AF78-8016-4618-9E57-EE274ADD22E4}"/>
          </ac:spMkLst>
        </pc:spChg>
        <pc:spChg chg="add mod">
          <ac:chgData name="Curtis Smith" userId="853fbcd611ad0f8e" providerId="LiveId" clId="{79D5096D-7AA8-46DB-ADD7-00C61D078B25}" dt="2026-04-02T02:05:43.872" v="3075"/>
          <ac:spMkLst>
            <pc:docMk/>
            <pc:sldMk cId="1576756538" sldId="6528"/>
            <ac:spMk id="7" creationId="{2C917DEB-2E06-4F55-8272-203F029B752C}"/>
          </ac:spMkLst>
        </pc:spChg>
        <pc:picChg chg="add mod">
          <ac:chgData name="Curtis Smith" userId="853fbcd611ad0f8e" providerId="LiveId" clId="{79D5096D-7AA8-46DB-ADD7-00C61D078B25}" dt="2026-04-02T01:14:20.477" v="2269" actId="14100"/>
          <ac:picMkLst>
            <pc:docMk/>
            <pc:sldMk cId="1576756538" sldId="6528"/>
            <ac:picMk id="4" creationId="{92D55F64-15EF-4754-85F0-F423ACA33E11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576756538" sldId="6528"/>
            <ac:cxnSpMk id="8" creationId="{51CC8BAA-A3B1-4F48-97B4-CE809F1F12C1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576756538" sldId="6528"/>
            <ac:cxnSpMk id="9" creationId="{6F51D3FF-4130-416D-908C-2DBBAA47D465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576756538" sldId="6528"/>
            <ac:cxnSpMk id="10" creationId="{7F40D99F-A9C7-4A97-9761-CBFCF13539CB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576756538" sldId="6528"/>
            <ac:cxnSpMk id="11" creationId="{102A1996-5348-4C4F-902E-6F63CD65F144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576756538" sldId="6528"/>
            <ac:cxnSpMk id="12" creationId="{498DBBF2-043C-4459-8BD9-86FBD9B6BC25}"/>
          </ac:cxnSpMkLst>
        </pc:cxnChg>
      </pc:sldChg>
      <pc:sldChg chg="addSp delSp modSp add mod">
        <pc:chgData name="Curtis Smith" userId="853fbcd611ad0f8e" providerId="LiveId" clId="{79D5096D-7AA8-46DB-ADD7-00C61D078B25}" dt="2026-04-03T13:32:25.509" v="8093"/>
        <pc:sldMkLst>
          <pc:docMk/>
          <pc:sldMk cId="2854361301" sldId="6529"/>
        </pc:sldMkLst>
        <pc:spChg chg="mod">
          <ac:chgData name="Curtis Smith" userId="853fbcd611ad0f8e" providerId="LiveId" clId="{79D5096D-7AA8-46DB-ADD7-00C61D078B25}" dt="2026-04-02T01:16:33.840" v="2363" actId="20577"/>
          <ac:spMkLst>
            <pc:docMk/>
            <pc:sldMk cId="2854361301" sldId="6529"/>
            <ac:spMk id="3" creationId="{2C24B685-AFB2-4378-B833-13CF5E54B3B8}"/>
          </ac:spMkLst>
        </pc:sp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854361301" sldId="6529"/>
            <ac:cxnSpMk id="4" creationId="{D7B7B286-CE26-4144-A30E-5E0CAF97C784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854361301" sldId="6529"/>
            <ac:cxnSpMk id="5" creationId="{A258206E-9E5B-4C01-A355-C79CE07AB97E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854361301" sldId="6529"/>
            <ac:cxnSpMk id="6" creationId="{7C13E163-4E5F-462E-B337-3A4AEE79C93F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854361301" sldId="6529"/>
            <ac:cxnSpMk id="7" creationId="{A1FCC792-4377-4C2B-BF56-73445061F930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854361301" sldId="6529"/>
            <ac:cxnSpMk id="8" creationId="{78484EC0-119C-4F2C-8B8F-8EE2BD6D715D}"/>
          </ac:cxnSpMkLst>
        </pc:cxnChg>
      </pc:sldChg>
      <pc:sldChg chg="addSp delSp modSp new mod modClrScheme chgLayout">
        <pc:chgData name="Curtis Smith" userId="853fbcd611ad0f8e" providerId="LiveId" clId="{79D5096D-7AA8-46DB-ADD7-00C61D078B25}" dt="2026-04-03T13:32:25.509" v="8093"/>
        <pc:sldMkLst>
          <pc:docMk/>
          <pc:sldMk cId="2002674615" sldId="6530"/>
        </pc:sldMkLst>
        <pc:spChg chg="del">
          <ac:chgData name="Curtis Smith" userId="853fbcd611ad0f8e" providerId="LiveId" clId="{79D5096D-7AA8-46DB-ADD7-00C61D078B25}" dt="2026-04-02T01:19:29.620" v="2365" actId="700"/>
          <ac:spMkLst>
            <pc:docMk/>
            <pc:sldMk cId="2002674615" sldId="6530"/>
            <ac:spMk id="2" creationId="{5673A1FE-F00A-47EF-BB87-AD2734A6DB19}"/>
          </ac:spMkLst>
        </pc:spChg>
        <pc:spChg chg="mod ord">
          <ac:chgData name="Curtis Smith" userId="853fbcd611ad0f8e" providerId="LiveId" clId="{79D5096D-7AA8-46DB-ADD7-00C61D078B25}" dt="2026-04-02T01:19:29.620" v="2365" actId="700"/>
          <ac:spMkLst>
            <pc:docMk/>
            <pc:sldMk cId="2002674615" sldId="6530"/>
            <ac:spMk id="3" creationId="{53A58F2A-CD7F-4B03-AE66-093506A1A3E4}"/>
          </ac:spMkLst>
        </pc:spChg>
        <pc:spChg chg="add mod">
          <ac:chgData name="Curtis Smith" userId="853fbcd611ad0f8e" providerId="LiveId" clId="{79D5096D-7AA8-46DB-ADD7-00C61D078B25}" dt="2026-04-02T02:34:14.379" v="3520" actId="6549"/>
          <ac:spMkLst>
            <pc:docMk/>
            <pc:sldMk cId="2002674615" sldId="6530"/>
            <ac:spMk id="7" creationId="{74039076-150F-4B7C-8702-C529F9A0C049}"/>
          </ac:spMkLst>
        </pc:spChg>
        <pc:spChg chg="add mod">
          <ac:chgData name="Curtis Smith" userId="853fbcd611ad0f8e" providerId="LiveId" clId="{79D5096D-7AA8-46DB-ADD7-00C61D078B25}" dt="2026-04-02T01:22:06.229" v="2427"/>
          <ac:spMkLst>
            <pc:docMk/>
            <pc:sldMk cId="2002674615" sldId="6530"/>
            <ac:spMk id="8" creationId="{ACADF121-BBB4-4883-B747-635B51F20891}"/>
          </ac:spMkLst>
        </pc:spChg>
        <pc:picChg chg="add mod">
          <ac:chgData name="Curtis Smith" userId="853fbcd611ad0f8e" providerId="LiveId" clId="{79D5096D-7AA8-46DB-ADD7-00C61D078B25}" dt="2026-04-02T01:19:38.653" v="2368" actId="14100"/>
          <ac:picMkLst>
            <pc:docMk/>
            <pc:sldMk cId="2002674615" sldId="6530"/>
            <ac:picMk id="5" creationId="{39A90CF4-8023-4B7E-B565-89CD7ED5DFD4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002674615" sldId="6530"/>
            <ac:cxnSpMk id="9" creationId="{A222989E-19AB-419B-A130-0949B8CF57DC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002674615" sldId="6530"/>
            <ac:cxnSpMk id="10" creationId="{A82B5173-6EB2-4C10-902B-8EDE96F122E7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002674615" sldId="6530"/>
            <ac:cxnSpMk id="11" creationId="{B6558811-6931-498E-879C-326484E91476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002674615" sldId="6530"/>
            <ac:cxnSpMk id="12" creationId="{856AD5B5-A4C4-4E08-AFA8-D706C9DDDCD6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002674615" sldId="6530"/>
            <ac:cxnSpMk id="13" creationId="{1BD92C13-366B-4DC6-BC15-20B9A9046CF7}"/>
          </ac:cxnSpMkLst>
        </pc:cxnChg>
      </pc:sldChg>
      <pc:sldChg chg="addSp delSp modSp add mod">
        <pc:chgData name="Curtis Smith" userId="853fbcd611ad0f8e" providerId="LiveId" clId="{79D5096D-7AA8-46DB-ADD7-00C61D078B25}" dt="2026-04-03T13:32:25.509" v="8093"/>
        <pc:sldMkLst>
          <pc:docMk/>
          <pc:sldMk cId="1960926339" sldId="6531"/>
        </pc:sldMkLst>
        <pc:spChg chg="mod">
          <ac:chgData name="Curtis Smith" userId="853fbcd611ad0f8e" providerId="LiveId" clId="{79D5096D-7AA8-46DB-ADD7-00C61D078B25}" dt="2026-04-02T01:30:59.198" v="2557" actId="207"/>
          <ac:spMkLst>
            <pc:docMk/>
            <pc:sldMk cId="1960926339" sldId="6531"/>
            <ac:spMk id="3" creationId="{2C24B685-AFB2-4378-B833-13CF5E54B3B8}"/>
          </ac:spMkLst>
        </pc:sp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960926339" sldId="6531"/>
            <ac:cxnSpMk id="4" creationId="{5F486CDD-6405-4208-9CF9-9D961F2C768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960926339" sldId="6531"/>
            <ac:cxnSpMk id="5" creationId="{4E003CBE-986D-4CF7-BF2C-B242A0BFF017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960926339" sldId="6531"/>
            <ac:cxnSpMk id="6" creationId="{5E6E4DB4-C56D-46E8-BC6F-6CA1AF9AE796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960926339" sldId="6531"/>
            <ac:cxnSpMk id="7" creationId="{81CC809E-F03E-4110-A746-0F5AEFEBAABF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960926339" sldId="6531"/>
            <ac:cxnSpMk id="8" creationId="{C7A27864-8DAC-4517-B86B-C901C3B4574C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45791311" sldId="6532"/>
        </pc:sldMkLst>
        <pc:spChg chg="add mod">
          <ac:chgData name="Curtis Smith" userId="853fbcd611ad0f8e" providerId="LiveId" clId="{79D5096D-7AA8-46DB-ADD7-00C61D078B25}" dt="2026-04-02T01:28:50.262" v="2519"/>
          <ac:spMkLst>
            <pc:docMk/>
            <pc:sldMk cId="145791311" sldId="6532"/>
            <ac:spMk id="5" creationId="{76BD6177-DCA3-4D9B-B27D-4D50A6AA9A70}"/>
          </ac:spMkLst>
        </pc:spChg>
        <pc:spChg chg="add mod">
          <ac:chgData name="Curtis Smith" userId="853fbcd611ad0f8e" providerId="LiveId" clId="{79D5096D-7AA8-46DB-ADD7-00C61D078B25}" dt="2026-04-02T01:30:08.991" v="2552" actId="1037"/>
          <ac:spMkLst>
            <pc:docMk/>
            <pc:sldMk cId="145791311" sldId="6532"/>
            <ac:spMk id="6" creationId="{93F770C3-BBAF-41CA-B692-B090BE17C106}"/>
          </ac:spMkLst>
        </pc:spChg>
        <pc:spChg chg="add mod ord">
          <ac:chgData name="Curtis Smith" userId="853fbcd611ad0f8e" providerId="LiveId" clId="{79D5096D-7AA8-46DB-ADD7-00C61D078B25}" dt="2026-04-02T01:30:27.012" v="2553" actId="166"/>
          <ac:spMkLst>
            <pc:docMk/>
            <pc:sldMk cId="145791311" sldId="6532"/>
            <ac:spMk id="7" creationId="{BD0BFE99-C9B2-4AEC-8DF4-DCD5404D4940}"/>
          </ac:spMkLst>
        </pc:spChg>
        <pc:spChg chg="add mod">
          <ac:chgData name="Curtis Smith" userId="853fbcd611ad0f8e" providerId="LiveId" clId="{79D5096D-7AA8-46DB-ADD7-00C61D078B25}" dt="2026-04-02T01:30:08.991" v="2552" actId="1037"/>
          <ac:spMkLst>
            <pc:docMk/>
            <pc:sldMk cId="145791311" sldId="6532"/>
            <ac:spMk id="8" creationId="{C0EA1A2E-FC44-4EEA-876A-8F8FF9C05726}"/>
          </ac:spMkLst>
        </pc:spChg>
        <pc:spChg chg="add mod ord">
          <ac:chgData name="Curtis Smith" userId="853fbcd611ad0f8e" providerId="LiveId" clId="{79D5096D-7AA8-46DB-ADD7-00C61D078B25}" dt="2026-04-02T01:30:32.248" v="2554" actId="166"/>
          <ac:spMkLst>
            <pc:docMk/>
            <pc:sldMk cId="145791311" sldId="6532"/>
            <ac:spMk id="9" creationId="{82B5E2EE-C090-48B3-A428-D2153603E260}"/>
          </ac:spMkLst>
        </pc:spChg>
        <pc:picChg chg="add mod">
          <ac:chgData name="Curtis Smith" userId="853fbcd611ad0f8e" providerId="LiveId" clId="{79D5096D-7AA8-46DB-ADD7-00C61D078B25}" dt="2026-04-02T01:28:38.999" v="2518" actId="14100"/>
          <ac:picMkLst>
            <pc:docMk/>
            <pc:sldMk cId="145791311" sldId="6532"/>
            <ac:picMk id="4" creationId="{27510CD2-3336-463A-B322-8B77CC444791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45791311" sldId="6532"/>
            <ac:cxnSpMk id="10" creationId="{A7779521-B776-484D-94BE-359D5AC6A19E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45791311" sldId="6532"/>
            <ac:cxnSpMk id="11" creationId="{C14B295A-B5E8-4D60-9472-92DB82294042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45791311" sldId="6532"/>
            <ac:cxnSpMk id="12" creationId="{B437B20F-2AB9-42F6-A986-58D4C0FF221B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45791311" sldId="6532"/>
            <ac:cxnSpMk id="13" creationId="{2ACF3A12-0926-4B18-ACAB-3CED87080F01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45791311" sldId="6532"/>
            <ac:cxnSpMk id="14" creationId="{43A41109-5FE8-44DC-9963-51B0DD294FD7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857344237" sldId="6533"/>
        </pc:sldMkLst>
        <pc:spChg chg="add mod">
          <ac:chgData name="Curtis Smith" userId="853fbcd611ad0f8e" providerId="LiveId" clId="{79D5096D-7AA8-46DB-ADD7-00C61D078B25}" dt="2026-04-02T01:40:43.824" v="2660" actId="207"/>
          <ac:spMkLst>
            <pc:docMk/>
            <pc:sldMk cId="1857344237" sldId="6533"/>
            <ac:spMk id="7" creationId="{5B7C0494-CC15-4533-8C48-9746C0B158FE}"/>
          </ac:spMkLst>
        </pc:spChg>
        <pc:spChg chg="add mod">
          <ac:chgData name="Curtis Smith" userId="853fbcd611ad0f8e" providerId="LiveId" clId="{79D5096D-7AA8-46DB-ADD7-00C61D078B25}" dt="2026-04-02T01:41:39.537" v="2665"/>
          <ac:spMkLst>
            <pc:docMk/>
            <pc:sldMk cId="1857344237" sldId="6533"/>
            <ac:spMk id="8" creationId="{3BCA9A42-C103-454C-9B01-3ECD22D8AEA2}"/>
          </ac:spMkLst>
        </pc:spChg>
        <pc:picChg chg="add del mod">
          <ac:chgData name="Curtis Smith" userId="853fbcd611ad0f8e" providerId="LiveId" clId="{79D5096D-7AA8-46DB-ADD7-00C61D078B25}" dt="2026-04-02T01:32:30.838" v="2561" actId="478"/>
          <ac:picMkLst>
            <pc:docMk/>
            <pc:sldMk cId="1857344237" sldId="6533"/>
            <ac:picMk id="3" creationId="{7C612C07-197B-48DA-BA7A-9E70986CCB96}"/>
          </ac:picMkLst>
        </pc:picChg>
        <pc:picChg chg="add mod">
          <ac:chgData name="Curtis Smith" userId="853fbcd611ad0f8e" providerId="LiveId" clId="{79D5096D-7AA8-46DB-ADD7-00C61D078B25}" dt="2026-04-02T01:34:22.166" v="2568" actId="1076"/>
          <ac:picMkLst>
            <pc:docMk/>
            <pc:sldMk cId="1857344237" sldId="6533"/>
            <ac:picMk id="5" creationId="{E5CFD716-2973-4688-90C7-30DB7DC8EB03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857344237" sldId="6533"/>
            <ac:cxnSpMk id="9" creationId="{2B5DF416-4189-452B-927B-4F400F653C99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857344237" sldId="6533"/>
            <ac:cxnSpMk id="10" creationId="{B8821468-EACC-40D3-BE97-0829EE400E63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857344237" sldId="6533"/>
            <ac:cxnSpMk id="11" creationId="{87058AAA-7AB4-47F9-9A9C-D9F75D31CD32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857344237" sldId="6533"/>
            <ac:cxnSpMk id="12" creationId="{9528BFF4-E72A-4AA8-BFF7-FE0253FE5D94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857344237" sldId="6533"/>
            <ac:cxnSpMk id="13" creationId="{5E53C64A-9FC7-4D66-A2EF-45554D39ACA8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2489562446" sldId="6534"/>
        </pc:sldMkLst>
        <pc:spChg chg="add mod">
          <ac:chgData name="Curtis Smith" userId="853fbcd611ad0f8e" providerId="LiveId" clId="{79D5096D-7AA8-46DB-ADD7-00C61D078B25}" dt="2026-04-02T01:39:33.925" v="2657" actId="1036"/>
          <ac:spMkLst>
            <pc:docMk/>
            <pc:sldMk cId="2489562446" sldId="6534"/>
            <ac:spMk id="5" creationId="{E8EEF5E6-C297-4EC3-B3D7-5CB18B3B4994}"/>
          </ac:spMkLst>
        </pc:spChg>
        <pc:spChg chg="add mod">
          <ac:chgData name="Curtis Smith" userId="853fbcd611ad0f8e" providerId="LiveId" clId="{79D5096D-7AA8-46DB-ADD7-00C61D078B25}" dt="2026-04-02T01:41:33.146" v="2662" actId="207"/>
          <ac:spMkLst>
            <pc:docMk/>
            <pc:sldMk cId="2489562446" sldId="6534"/>
            <ac:spMk id="6" creationId="{B750A4AB-F37F-4C0D-916E-8C9AEDF642F3}"/>
          </ac:spMkLst>
        </pc:spChg>
        <pc:spChg chg="add del mod">
          <ac:chgData name="Curtis Smith" userId="853fbcd611ad0f8e" providerId="LiveId" clId="{79D5096D-7AA8-46DB-ADD7-00C61D078B25}" dt="2026-04-02T01:41:36.160" v="2664"/>
          <ac:spMkLst>
            <pc:docMk/>
            <pc:sldMk cId="2489562446" sldId="6534"/>
            <ac:spMk id="7" creationId="{1E66C4CA-93D9-45BF-BA08-2018296F7B25}"/>
          </ac:spMkLst>
        </pc:spChg>
        <pc:picChg chg="add mod">
          <ac:chgData name="Curtis Smith" userId="853fbcd611ad0f8e" providerId="LiveId" clId="{79D5096D-7AA8-46DB-ADD7-00C61D078B25}" dt="2026-04-02T01:38:03.552" v="2632" actId="14100"/>
          <ac:picMkLst>
            <pc:docMk/>
            <pc:sldMk cId="2489562446" sldId="6534"/>
            <ac:picMk id="4" creationId="{C7BDE165-1331-4A10-8EC5-A9AB0FA5AEA8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489562446" sldId="6534"/>
            <ac:cxnSpMk id="8" creationId="{CCAF6BEB-1980-445D-A020-E4D32C7BBAB9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489562446" sldId="6534"/>
            <ac:cxnSpMk id="9" creationId="{1293E099-8A2B-44CA-954C-74B98011B9E0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489562446" sldId="6534"/>
            <ac:cxnSpMk id="10" creationId="{45186490-ECD0-47F8-8DBE-5A903EBAC9B9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489562446" sldId="6534"/>
            <ac:cxnSpMk id="11" creationId="{203D329E-6776-4002-840F-ED5A69A49EA1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489562446" sldId="6534"/>
            <ac:cxnSpMk id="12" creationId="{02496CAD-C116-4191-94DE-3030619D2626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558920367" sldId="6535"/>
        </pc:sldMkLst>
        <pc:spChg chg="add mod">
          <ac:chgData name="Curtis Smith" userId="853fbcd611ad0f8e" providerId="LiveId" clId="{79D5096D-7AA8-46DB-ADD7-00C61D078B25}" dt="2026-04-02T01:52:06.344" v="2915" actId="1076"/>
          <ac:spMkLst>
            <pc:docMk/>
            <pc:sldMk cId="558920367" sldId="6535"/>
            <ac:spMk id="5" creationId="{EF7B47C6-9234-49F3-9ED6-2991E9D38F11}"/>
          </ac:spMkLst>
        </pc:spChg>
        <pc:spChg chg="add mod">
          <ac:chgData name="Curtis Smith" userId="853fbcd611ad0f8e" providerId="LiveId" clId="{79D5096D-7AA8-46DB-ADD7-00C61D078B25}" dt="2026-04-02T02:05:45.668" v="3076"/>
          <ac:spMkLst>
            <pc:docMk/>
            <pc:sldMk cId="558920367" sldId="6535"/>
            <ac:spMk id="6" creationId="{1C3AFF70-22E6-4CB1-AF77-6905A517E865}"/>
          </ac:spMkLst>
        </pc:spChg>
        <pc:picChg chg="add mod">
          <ac:chgData name="Curtis Smith" userId="853fbcd611ad0f8e" providerId="LiveId" clId="{79D5096D-7AA8-46DB-ADD7-00C61D078B25}" dt="2026-04-02T01:48:41.512" v="2765" actId="14100"/>
          <ac:picMkLst>
            <pc:docMk/>
            <pc:sldMk cId="558920367" sldId="6535"/>
            <ac:picMk id="4" creationId="{D946465D-8A54-45BF-A6A9-2173AE72C372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558920367" sldId="6535"/>
            <ac:cxnSpMk id="7" creationId="{BE947881-794C-47AE-95EA-628194F1E367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558920367" sldId="6535"/>
            <ac:cxnSpMk id="8" creationId="{FA84C8FD-A3DC-438A-BD7C-50B22EC41E71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558920367" sldId="6535"/>
            <ac:cxnSpMk id="9" creationId="{0184C8DF-3D11-4E39-9F75-F57168CACA90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558920367" sldId="6535"/>
            <ac:cxnSpMk id="10" creationId="{61B4333E-9EEF-4CEC-A961-83E20144DD68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558920367" sldId="6535"/>
            <ac:cxnSpMk id="11" creationId="{D2AD9F19-A669-4D41-BED4-6F4B765A5A5B}"/>
          </ac:cxnSpMkLst>
        </pc:cxnChg>
      </pc:sldChg>
      <pc:sldChg chg="addSp delSp modSp add mod">
        <pc:chgData name="Curtis Smith" userId="853fbcd611ad0f8e" providerId="LiveId" clId="{79D5096D-7AA8-46DB-ADD7-00C61D078B25}" dt="2026-04-03T13:32:25.509" v="8093"/>
        <pc:sldMkLst>
          <pc:docMk/>
          <pc:sldMk cId="2400424585" sldId="6536"/>
        </pc:sldMkLst>
        <pc:spChg chg="mod">
          <ac:chgData name="Curtis Smith" userId="853fbcd611ad0f8e" providerId="LiveId" clId="{79D5096D-7AA8-46DB-ADD7-00C61D078B25}" dt="2026-04-02T02:20:01.631" v="3247" actId="1076"/>
          <ac:spMkLst>
            <pc:docMk/>
            <pc:sldMk cId="2400424585" sldId="6536"/>
            <ac:spMk id="9" creationId="{35D84826-6FBA-365E-76DB-A115AD51A88B}"/>
          </ac:spMkLst>
        </pc:spChg>
        <pc:spChg chg="mod">
          <ac:chgData name="Curtis Smith" userId="853fbcd611ad0f8e" providerId="LiveId" clId="{79D5096D-7AA8-46DB-ADD7-00C61D078B25}" dt="2026-04-02T02:24:26.783" v="3273" actId="14100"/>
          <ac:spMkLst>
            <pc:docMk/>
            <pc:sldMk cId="2400424585" sldId="6536"/>
            <ac:spMk id="13" creationId="{F0632E66-9CE9-2431-8D5B-C05BBB4895BB}"/>
          </ac:spMkLst>
        </pc:spChg>
        <pc:spChg chg="mod">
          <ac:chgData name="Curtis Smith" userId="853fbcd611ad0f8e" providerId="LiveId" clId="{79D5096D-7AA8-46DB-ADD7-00C61D078B25}" dt="2026-04-02T02:27:35.218" v="3294" actId="1076"/>
          <ac:spMkLst>
            <pc:docMk/>
            <pc:sldMk cId="2400424585" sldId="6536"/>
            <ac:spMk id="14" creationId="{321884F8-B727-4F32-8DFB-A9EB8FAC179F}"/>
          </ac:spMkLst>
        </pc:spChg>
        <pc:spChg chg="mod">
          <ac:chgData name="Curtis Smith" userId="853fbcd611ad0f8e" providerId="LiveId" clId="{79D5096D-7AA8-46DB-ADD7-00C61D078B25}" dt="2026-04-02T02:24:50.313" v="3276" actId="1076"/>
          <ac:spMkLst>
            <pc:docMk/>
            <pc:sldMk cId="2400424585" sldId="6536"/>
            <ac:spMk id="16" creationId="{E07F0E5D-47DA-6278-5A88-C25A3CA77B54}"/>
          </ac:spMkLst>
        </pc:spChg>
        <pc:spChg chg="mod">
          <ac:chgData name="Curtis Smith" userId="853fbcd611ad0f8e" providerId="LiveId" clId="{79D5096D-7AA8-46DB-ADD7-00C61D078B25}" dt="2026-04-02T02:23:32.286" v="3268" actId="1076"/>
          <ac:spMkLst>
            <pc:docMk/>
            <pc:sldMk cId="2400424585" sldId="6536"/>
            <ac:spMk id="19" creationId="{CC71D107-802A-E05E-5FFF-F6A469F422E5}"/>
          </ac:spMkLst>
        </pc:spChg>
        <pc:spChg chg="mod">
          <ac:chgData name="Curtis Smith" userId="853fbcd611ad0f8e" providerId="LiveId" clId="{79D5096D-7AA8-46DB-ADD7-00C61D078B25}" dt="2026-04-02T02:27:09.635" v="3290" actId="1076"/>
          <ac:spMkLst>
            <pc:docMk/>
            <pc:sldMk cId="2400424585" sldId="6536"/>
            <ac:spMk id="22" creationId="{F8406B66-9C10-0715-1EB7-01646F580E55}"/>
          </ac:spMkLst>
        </pc:spChg>
        <pc:picChg chg="mod">
          <ac:chgData name="Curtis Smith" userId="853fbcd611ad0f8e" providerId="LiveId" clId="{79D5096D-7AA8-46DB-ADD7-00C61D078B25}" dt="2026-04-02T02:23:03.147" v="3263" actId="1076"/>
          <ac:picMkLst>
            <pc:docMk/>
            <pc:sldMk cId="2400424585" sldId="6536"/>
            <ac:picMk id="4" creationId="{62B90B1D-3987-901B-29AE-8B7F32315DA2}"/>
          </ac:picMkLst>
        </pc:picChg>
        <pc:cxnChg chg="mod">
          <ac:chgData name="Curtis Smith" userId="853fbcd611ad0f8e" providerId="LiveId" clId="{79D5096D-7AA8-46DB-ADD7-00C61D078B25}" dt="2026-04-02T02:20:39.947" v="3248" actId="14100"/>
          <ac:cxnSpMkLst>
            <pc:docMk/>
            <pc:sldMk cId="2400424585" sldId="6536"/>
            <ac:cxnSpMk id="11" creationId="{117D5FA5-4A0F-5356-48A0-92582045E09D}"/>
          </ac:cxnSpMkLst>
        </pc:cxnChg>
        <pc:cxnChg chg="mod">
          <ac:chgData name="Curtis Smith" userId="853fbcd611ad0f8e" providerId="LiveId" clId="{79D5096D-7AA8-46DB-ADD7-00C61D078B25}" dt="2026-04-02T02:27:18.530" v="3292" actId="14100"/>
          <ac:cxnSpMkLst>
            <pc:docMk/>
            <pc:sldMk cId="2400424585" sldId="6536"/>
            <ac:cxnSpMk id="15" creationId="{341EE168-7DD8-BC27-72E0-05DC442D476D}"/>
          </ac:cxnSpMkLst>
        </pc:cxnChg>
        <pc:cxnChg chg="mod">
          <ac:chgData name="Curtis Smith" userId="853fbcd611ad0f8e" providerId="LiveId" clId="{79D5096D-7AA8-46DB-ADD7-00C61D078B25}" dt="2026-04-02T02:24:57.064" v="3277" actId="14100"/>
          <ac:cxnSpMkLst>
            <pc:docMk/>
            <pc:sldMk cId="2400424585" sldId="6536"/>
            <ac:cxnSpMk id="18" creationId="{4AA7DB1A-13B2-50E5-C49E-77A80801C19F}"/>
          </ac:cxnSpMkLst>
        </pc:cxnChg>
        <pc:cxnChg chg="mod">
          <ac:chgData name="Curtis Smith" userId="853fbcd611ad0f8e" providerId="LiveId" clId="{79D5096D-7AA8-46DB-ADD7-00C61D078B25}" dt="2026-04-02T02:23:36.395" v="3269" actId="14100"/>
          <ac:cxnSpMkLst>
            <pc:docMk/>
            <pc:sldMk cId="2400424585" sldId="6536"/>
            <ac:cxnSpMk id="21" creationId="{00CAB212-CFB1-C1A9-2E7A-863788A38AF8}"/>
          </ac:cxnSpMkLst>
        </pc:cxnChg>
        <pc:cxnChg chg="mod">
          <ac:chgData name="Curtis Smith" userId="853fbcd611ad0f8e" providerId="LiveId" clId="{79D5096D-7AA8-46DB-ADD7-00C61D078B25}" dt="2026-04-02T02:24:43.339" v="3275" actId="14100"/>
          <ac:cxnSpMkLst>
            <pc:docMk/>
            <pc:sldMk cId="2400424585" sldId="6536"/>
            <ac:cxnSpMk id="24" creationId="{3FC12054-7263-D046-4AB7-1095BB4733FC}"/>
          </ac:cxnSpMkLst>
        </pc:cxn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2400424585" sldId="6536"/>
            <ac:cxnSpMk id="29" creationId="{E1F2243B-F718-4C1E-8B34-02F51A4FEA84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400424585" sldId="6536"/>
            <ac:cxnSpMk id="30" creationId="{B74219D7-9B69-4691-9A42-DC05294B7602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400424585" sldId="6536"/>
            <ac:cxnSpMk id="31" creationId="{9D8C5615-2FEB-4E51-9310-2BE4E6D3BC9D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400424585" sldId="6536"/>
            <ac:cxnSpMk id="32" creationId="{01EC7B86-7B81-4385-918F-D3A55EEDFBBF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400424585" sldId="6536"/>
            <ac:cxnSpMk id="33" creationId="{7154C5A8-EC78-4932-8B56-E8D9E6E57A78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3303577926" sldId="6537"/>
        </pc:sldMkLst>
        <pc:spChg chg="add del mod">
          <ac:chgData name="Curtis Smith" userId="853fbcd611ad0f8e" providerId="LiveId" clId="{79D5096D-7AA8-46DB-ADD7-00C61D078B25}" dt="2026-04-02T02:29:35.576" v="3302"/>
          <ac:spMkLst>
            <pc:docMk/>
            <pc:sldMk cId="3303577926" sldId="6537"/>
            <ac:spMk id="3" creationId="{1A09EF9C-256D-48E1-BCED-B07418097266}"/>
          </ac:spMkLst>
        </pc:spChg>
        <pc:spChg chg="add mod">
          <ac:chgData name="Curtis Smith" userId="853fbcd611ad0f8e" providerId="LiveId" clId="{79D5096D-7AA8-46DB-ADD7-00C61D078B25}" dt="2026-04-03T01:14:35.792" v="6160" actId="207"/>
          <ac:spMkLst>
            <pc:docMk/>
            <pc:sldMk cId="3303577926" sldId="6537"/>
            <ac:spMk id="6" creationId="{DD577396-39FE-47CA-BF30-6742D3B5C356}"/>
          </ac:spMkLst>
        </pc:spChg>
        <pc:spChg chg="add mod">
          <ac:chgData name="Curtis Smith" userId="853fbcd611ad0f8e" providerId="LiveId" clId="{79D5096D-7AA8-46DB-ADD7-00C61D078B25}" dt="2026-04-03T03:55:15.658" v="7087"/>
          <ac:spMkLst>
            <pc:docMk/>
            <pc:sldMk cId="3303577926" sldId="6537"/>
            <ac:spMk id="11" creationId="{751AF927-E543-4E18-8E6F-63C8CB316685}"/>
          </ac:spMkLst>
        </pc:spChg>
        <pc:picChg chg="add mod">
          <ac:chgData name="Curtis Smith" userId="853fbcd611ad0f8e" providerId="LiveId" clId="{79D5096D-7AA8-46DB-ADD7-00C61D078B25}" dt="2026-04-02T02:29:53.339" v="3305" actId="14100"/>
          <ac:picMkLst>
            <pc:docMk/>
            <pc:sldMk cId="3303577926" sldId="6537"/>
            <ac:picMk id="5" creationId="{2BB2939E-4869-49CD-9959-495D9CD67032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3303577926" sldId="6537"/>
            <ac:cxnSpMk id="7" creationId="{3E21149B-9077-4B2C-870F-02C07865B96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3303577926" sldId="6537"/>
            <ac:cxnSpMk id="8" creationId="{DF0175C3-8411-4DDC-BD7D-5CA2943123C9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3303577926" sldId="6537"/>
            <ac:cxnSpMk id="9" creationId="{392036D7-903F-46EF-BC0E-76E8F4ABE551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303577926" sldId="6537"/>
            <ac:cxnSpMk id="10" creationId="{4B196F0C-B2D4-4A4B-86C9-4EA0515E74D2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303577926" sldId="6537"/>
            <ac:cxnSpMk id="12" creationId="{EDE38914-0EC7-4320-84EE-9AF3F083275B}"/>
          </ac:cxnSpMkLst>
        </pc:cxnChg>
      </pc:sldChg>
      <pc:sldChg chg="addSp delSp modSp add mod ord">
        <pc:chgData name="Curtis Smith" userId="853fbcd611ad0f8e" providerId="LiveId" clId="{79D5096D-7AA8-46DB-ADD7-00C61D078B25}" dt="2026-04-03T13:32:25.509" v="8093"/>
        <pc:sldMkLst>
          <pc:docMk/>
          <pc:sldMk cId="1095483137" sldId="6538"/>
        </pc:sldMkLst>
        <pc:picChg chg="mod modCrop">
          <ac:chgData name="Curtis Smith" userId="853fbcd611ad0f8e" providerId="LiveId" clId="{79D5096D-7AA8-46DB-ADD7-00C61D078B25}" dt="2026-04-02T02:37:01.790" v="3531" actId="14100"/>
          <ac:picMkLst>
            <pc:docMk/>
            <pc:sldMk cId="1095483137" sldId="6538"/>
            <ac:picMk id="4" creationId="{DB66EC39-CE92-45D1-9DF1-0AAF02E9DE21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095483137" sldId="6538"/>
            <ac:cxnSpMk id="2" creationId="{B028F4BB-8919-4A56-8BB3-50099B8AFB47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095483137" sldId="6538"/>
            <ac:cxnSpMk id="6" creationId="{83D66E3A-0CC9-45D9-9EAE-7F8239089325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095483137" sldId="6538"/>
            <ac:cxnSpMk id="7" creationId="{11E89F7E-4B93-424B-8EA9-718751DBC55B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095483137" sldId="6538"/>
            <ac:cxnSpMk id="8" creationId="{5CA19FBE-572B-484C-8A22-11D49F802C2D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095483137" sldId="6538"/>
            <ac:cxnSpMk id="9" creationId="{7A47AC91-AAB6-41CB-B602-077AFF61EE3F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1160576655" sldId="6539"/>
        </pc:sldMkLst>
        <pc:picChg chg="add mod">
          <ac:chgData name="Curtis Smith" userId="853fbcd611ad0f8e" providerId="LiveId" clId="{79D5096D-7AA8-46DB-ADD7-00C61D078B25}" dt="2026-04-02T02:42:39.990" v="3547" actId="14100"/>
          <ac:picMkLst>
            <pc:docMk/>
            <pc:sldMk cId="1160576655" sldId="6539"/>
            <ac:picMk id="4" creationId="{2389DDE4-46C0-4418-B457-31FB30F63708}"/>
          </ac:picMkLst>
        </pc:picChg>
        <pc:cxnChg chg="add del mod modVis">
          <ac:chgData name="Curtis Smith" userId="853fbcd611ad0f8e" providerId="LiveId" clId="{79D5096D-7AA8-46DB-ADD7-00C61D078B25}" dt="2026-04-02T02:49:18.574" v="4322"/>
          <ac:cxnSpMkLst>
            <pc:docMk/>
            <pc:sldMk cId="1160576655" sldId="6539"/>
            <ac:cxnSpMk id="5" creationId="{EA09DF6C-F5F3-4AC6-AA3F-AC3DB376D50E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1160576655" sldId="6539"/>
            <ac:cxnSpMk id="6" creationId="{E693DCCF-9814-4218-B873-BE9ED9336ABB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1160576655" sldId="6539"/>
            <ac:cxnSpMk id="7" creationId="{ADAC89E9-A5BF-4F8B-A683-72A5D0728D74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1160576655" sldId="6539"/>
            <ac:cxnSpMk id="8" creationId="{0DE26344-8CB3-4C55-8D06-5BBDE25BA962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1160576655" sldId="6539"/>
            <ac:cxnSpMk id="9" creationId="{EBF02052-A0FA-4945-A133-360774CF0931}"/>
          </ac:cxnSpMkLst>
        </pc:cxnChg>
      </pc:sldChg>
      <pc:sldChg chg="addSp delSp modSp new mod">
        <pc:chgData name="Curtis Smith" userId="853fbcd611ad0f8e" providerId="LiveId" clId="{79D5096D-7AA8-46DB-ADD7-00C61D078B25}" dt="2026-04-03T13:32:25.509" v="8093"/>
        <pc:sldMkLst>
          <pc:docMk/>
          <pc:sldMk cId="2535603628" sldId="6540"/>
        </pc:sldMkLst>
        <pc:spChg chg="add mod">
          <ac:chgData name="Curtis Smith" userId="853fbcd611ad0f8e" providerId="LiveId" clId="{79D5096D-7AA8-46DB-ADD7-00C61D078B25}" dt="2026-04-02T16:26:06.405" v="4342" actId="14100"/>
          <ac:spMkLst>
            <pc:docMk/>
            <pc:sldMk cId="2535603628" sldId="6540"/>
            <ac:spMk id="6" creationId="{450D1EED-0D0F-4BC5-BF5A-4FD533E7D755}"/>
          </ac:spMkLst>
        </pc:spChg>
        <pc:spChg chg="add mod">
          <ac:chgData name="Curtis Smith" userId="853fbcd611ad0f8e" providerId="LiveId" clId="{79D5096D-7AA8-46DB-ADD7-00C61D078B25}" dt="2026-04-02T16:28:11.343" v="4394" actId="3064"/>
          <ac:spMkLst>
            <pc:docMk/>
            <pc:sldMk cId="2535603628" sldId="6540"/>
            <ac:spMk id="8" creationId="{99F27A11-E291-4548-937F-8C4EBB99532E}"/>
          </ac:spMkLst>
        </pc:spChg>
        <pc:spChg chg="add mod">
          <ac:chgData name="Curtis Smith" userId="853fbcd611ad0f8e" providerId="LiveId" clId="{79D5096D-7AA8-46DB-ADD7-00C61D078B25}" dt="2026-04-03T03:55:08.036" v="7086" actId="207"/>
          <ac:spMkLst>
            <pc:docMk/>
            <pc:sldMk cId="2535603628" sldId="6540"/>
            <ac:spMk id="12" creationId="{6473465C-091D-48B5-BE06-3F03C32D6DE1}"/>
          </ac:spMkLst>
        </pc:spChg>
        <pc:picChg chg="add mod modCrop">
          <ac:chgData name="Curtis Smith" userId="853fbcd611ad0f8e" providerId="LiveId" clId="{79D5096D-7AA8-46DB-ADD7-00C61D078B25}" dt="2026-04-02T16:25:03.056" v="4331" actId="14100"/>
          <ac:picMkLst>
            <pc:docMk/>
            <pc:sldMk cId="2535603628" sldId="6540"/>
            <ac:picMk id="4" creationId="{76D5CD22-948D-4727-8612-C1F0111CFA6A}"/>
          </ac:picMkLst>
        </pc:picChg>
        <pc:cxnChg chg="add mod">
          <ac:chgData name="Curtis Smith" userId="853fbcd611ad0f8e" providerId="LiveId" clId="{79D5096D-7AA8-46DB-ADD7-00C61D078B25}" dt="2026-04-02T16:26:02.517" v="4340" actId="1076"/>
          <ac:cxnSpMkLst>
            <pc:docMk/>
            <pc:sldMk cId="2535603628" sldId="6540"/>
            <ac:cxnSpMk id="5" creationId="{7BBBCD1C-50D8-4BDA-863C-8CC774EFAB4A}"/>
          </ac:cxnSpMkLst>
        </pc:cxnChg>
        <pc:cxnChg chg="add del mod modVis">
          <ac:chgData name="Curtis Smith" userId="853fbcd611ad0f8e" providerId="LiveId" clId="{79D5096D-7AA8-46DB-ADD7-00C61D078B25}" dt="2026-04-02T16:29:55.952" v="5187"/>
          <ac:cxnSpMkLst>
            <pc:docMk/>
            <pc:sldMk cId="2535603628" sldId="6540"/>
            <ac:cxnSpMk id="9" creationId="{FFB0F27B-F8F5-4E1B-8C26-553E8A2FF1D7}"/>
          </ac:cxnSpMkLst>
        </pc:cxn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535603628" sldId="6540"/>
            <ac:cxnSpMk id="10" creationId="{EDFFB16D-8C48-46BB-BDBF-8F13ECDE349A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535603628" sldId="6540"/>
            <ac:cxnSpMk id="11" creationId="{E781A180-6B38-4F7F-824F-7BBB49711741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535603628" sldId="6540"/>
            <ac:cxnSpMk id="13" creationId="{F351B381-F592-4E07-9EC7-B30D7F216CBA}"/>
          </ac:cxnSpMkLst>
        </pc:cxnChg>
      </pc:sldChg>
      <pc:sldChg chg="addSp delSp new del mod">
        <pc:chgData name="Curtis Smith" userId="853fbcd611ad0f8e" providerId="LiveId" clId="{79D5096D-7AA8-46DB-ADD7-00C61D078B25}" dt="2026-04-02T19:59:06.970" v="5247" actId="47"/>
        <pc:sldMkLst>
          <pc:docMk/>
          <pc:sldMk cId="1643233907" sldId="6541"/>
        </pc:sldMkLst>
        <pc:picChg chg="add del">
          <ac:chgData name="Curtis Smith" userId="853fbcd611ad0f8e" providerId="LiveId" clId="{79D5096D-7AA8-46DB-ADD7-00C61D078B25}" dt="2026-04-02T19:53:19.739" v="5199" actId="478"/>
          <ac:picMkLst>
            <pc:docMk/>
            <pc:sldMk cId="1643233907" sldId="6541"/>
            <ac:picMk id="4" creationId="{D6066716-0C0D-46ED-AA46-D6EB6CB5733D}"/>
          </ac:picMkLst>
        </pc:picChg>
      </pc:sldChg>
      <pc:sldChg chg="addSp delSp modSp new mod ord">
        <pc:chgData name="Curtis Smith" userId="853fbcd611ad0f8e" providerId="LiveId" clId="{79D5096D-7AA8-46DB-ADD7-00C61D078B25}" dt="2026-04-03T13:32:25.509" v="8093"/>
        <pc:sldMkLst>
          <pc:docMk/>
          <pc:sldMk cId="312829651" sldId="6542"/>
        </pc:sldMkLst>
        <pc:spChg chg="add mod">
          <ac:chgData name="Curtis Smith" userId="853fbcd611ad0f8e" providerId="LiveId" clId="{79D5096D-7AA8-46DB-ADD7-00C61D078B25}" dt="2026-04-02T19:56:54.018" v="5217" actId="1076"/>
          <ac:spMkLst>
            <pc:docMk/>
            <pc:sldMk cId="312829651" sldId="6542"/>
            <ac:spMk id="7" creationId="{AC5345EF-AF7C-4C60-AEAB-503C2050F6AF}"/>
          </ac:spMkLst>
        </pc:spChg>
        <pc:spChg chg="add mod">
          <ac:chgData name="Curtis Smith" userId="853fbcd611ad0f8e" providerId="LiveId" clId="{79D5096D-7AA8-46DB-ADD7-00C61D078B25}" dt="2026-04-02T19:58:52.733" v="5245" actId="403"/>
          <ac:spMkLst>
            <pc:docMk/>
            <pc:sldMk cId="312829651" sldId="6542"/>
            <ac:spMk id="8" creationId="{B7DD43FA-B75D-417F-A0BF-45215EA9C873}"/>
          </ac:spMkLst>
        </pc:spChg>
        <pc:picChg chg="add del mod modCrop">
          <ac:chgData name="Curtis Smith" userId="853fbcd611ad0f8e" providerId="LiveId" clId="{79D5096D-7AA8-46DB-ADD7-00C61D078B25}" dt="2026-04-02T19:52:34.689" v="5197" actId="478"/>
          <ac:picMkLst>
            <pc:docMk/>
            <pc:sldMk cId="312829651" sldId="6542"/>
            <ac:picMk id="4" creationId="{61194C6D-9AD9-4246-A4FB-92BE5B2A104A}"/>
          </ac:picMkLst>
        </pc:picChg>
        <pc:picChg chg="add mod">
          <ac:chgData name="Curtis Smith" userId="853fbcd611ad0f8e" providerId="LiveId" clId="{79D5096D-7AA8-46DB-ADD7-00C61D078B25}" dt="2026-04-02T19:54:01.891" v="5204" actId="14100"/>
          <ac:picMkLst>
            <pc:docMk/>
            <pc:sldMk cId="312829651" sldId="6542"/>
            <ac:picMk id="2050" creationId="{93C00C73-DE54-4085-82BD-18B18889178E}"/>
          </ac:picMkLst>
        </pc:pic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312829651" sldId="6542"/>
            <ac:cxnSpMk id="6" creationId="{E5F395F4-3E48-445A-9FA5-DE3F56DC951C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12829651" sldId="6542"/>
            <ac:cxnSpMk id="9" creationId="{3D54517C-502B-421D-952C-8A23FC8864CF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12829651" sldId="6542"/>
            <ac:cxnSpMk id="10" creationId="{99D33E75-17F1-45A2-8183-67927DDDB404}"/>
          </ac:cxnSpMkLst>
        </pc:cxnChg>
      </pc:sldChg>
      <pc:sldChg chg="addSp delSp modSp add mod">
        <pc:chgData name="Curtis Smith" userId="853fbcd611ad0f8e" providerId="LiveId" clId="{79D5096D-7AA8-46DB-ADD7-00C61D078B25}" dt="2026-04-03T13:32:25.509" v="8093"/>
        <pc:sldMkLst>
          <pc:docMk/>
          <pc:sldMk cId="2293454918" sldId="6543"/>
        </pc:sldMkLst>
        <pc:spChg chg="mod">
          <ac:chgData name="Curtis Smith" userId="853fbcd611ad0f8e" providerId="LiveId" clId="{79D5096D-7AA8-46DB-ADD7-00C61D078B25}" dt="2026-04-02T20:33:54.957" v="5282" actId="14100"/>
          <ac:spMkLst>
            <pc:docMk/>
            <pc:sldMk cId="2293454918" sldId="6543"/>
            <ac:spMk id="8" creationId="{B7DD43FA-B75D-417F-A0BF-45215EA9C873}"/>
          </ac:spMkLst>
        </pc:spChg>
        <pc:spChg chg="add mod">
          <ac:chgData name="Curtis Smith" userId="853fbcd611ad0f8e" providerId="LiveId" clId="{79D5096D-7AA8-46DB-ADD7-00C61D078B25}" dt="2026-04-03T13:04:29.490" v="7098" actId="207"/>
          <ac:spMkLst>
            <pc:docMk/>
            <pc:sldMk cId="2293454918" sldId="6543"/>
            <ac:spMk id="10" creationId="{178D9552-157B-4BD1-9DDC-75D5B530B2EA}"/>
          </ac:spMkLst>
        </pc:spChg>
        <pc:picChg chg="add mod ord">
          <ac:chgData name="Curtis Smith" userId="853fbcd611ad0f8e" providerId="LiveId" clId="{79D5096D-7AA8-46DB-ADD7-00C61D078B25}" dt="2026-04-02T20:24:32.962" v="5278" actId="1076"/>
          <ac:picMkLst>
            <pc:docMk/>
            <pc:sldMk cId="2293454918" sldId="6543"/>
            <ac:picMk id="4" creationId="{3389033A-02B6-4CB1-BE2F-5F1998A23C61}"/>
          </ac:picMkLst>
        </pc:picChg>
        <pc:picChg chg="del mod">
          <ac:chgData name="Curtis Smith" userId="853fbcd611ad0f8e" providerId="LiveId" clId="{79D5096D-7AA8-46DB-ADD7-00C61D078B25}" dt="2026-04-02T20:24:24.470" v="5275" actId="478"/>
          <ac:picMkLst>
            <pc:docMk/>
            <pc:sldMk cId="2293454918" sldId="6543"/>
            <ac:picMk id="2050" creationId="{93C00C73-DE54-4085-82BD-18B18889178E}"/>
          </ac:picMkLst>
        </pc:picChg>
        <pc:cxnChg chg="add del mod modVis">
          <ac:chgData name="Curtis Smith" userId="853fbcd611ad0f8e" providerId="LiveId" clId="{79D5096D-7AA8-46DB-ADD7-00C61D078B25}" dt="2026-04-02T20:36:19.841" v="6115"/>
          <ac:cxnSpMkLst>
            <pc:docMk/>
            <pc:sldMk cId="2293454918" sldId="6543"/>
            <ac:cxnSpMk id="5" creationId="{EDBA2CC9-EBAE-4175-8F38-8C05DA5D8AE7}"/>
          </ac:cxnSpMkLst>
        </pc:cxn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293454918" sldId="6543"/>
            <ac:cxnSpMk id="6" creationId="{3C6680A7-F6D6-448A-BDCD-D5BCA4A3F4CD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293454918" sldId="6543"/>
            <ac:cxnSpMk id="9" creationId="{D2B0329F-AAB0-41D5-9600-8178705D5702}"/>
          </ac:cxnSpMkLst>
        </pc:cxnChg>
      </pc:sldChg>
      <pc:sldChg chg="addSp delSp modSp add mod ord">
        <pc:chgData name="Curtis Smith" userId="853fbcd611ad0f8e" providerId="LiveId" clId="{79D5096D-7AA8-46DB-ADD7-00C61D078B25}" dt="2026-04-03T13:32:25.509" v="8093"/>
        <pc:sldMkLst>
          <pc:docMk/>
          <pc:sldMk cId="3844549761" sldId="6544"/>
        </pc:sldMkLst>
        <pc:spChg chg="mod">
          <ac:chgData name="Curtis Smith" userId="853fbcd611ad0f8e" providerId="LiveId" clId="{79D5096D-7AA8-46DB-ADD7-00C61D078B25}" dt="2026-04-03T01:14:46.662" v="6163" actId="207"/>
          <ac:spMkLst>
            <pc:docMk/>
            <pc:sldMk cId="3844549761" sldId="6544"/>
            <ac:spMk id="3" creationId="{2C24B685-AFB2-4378-B833-13CF5E54B3B8}"/>
          </ac:spMkLst>
        </pc:sp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3844549761" sldId="6544"/>
            <ac:cxnSpMk id="4" creationId="{76DCF2E2-32F6-4EF4-9AC5-DB8A6B3E265E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3844549761" sldId="6544"/>
            <ac:cxnSpMk id="5" creationId="{A616653A-ECED-4203-9BC0-E5360066FBCE}"/>
          </ac:cxnSpMkLst>
        </pc:cxnChg>
      </pc:sldChg>
      <pc:sldChg chg="addSp delSp modSp add mod ord">
        <pc:chgData name="Curtis Smith" userId="853fbcd611ad0f8e" providerId="LiveId" clId="{79D5096D-7AA8-46DB-ADD7-00C61D078B25}" dt="2026-04-03T13:32:25.509" v="8093"/>
        <pc:sldMkLst>
          <pc:docMk/>
          <pc:sldMk cId="278999696" sldId="6545"/>
        </pc:sldMkLst>
        <pc:spChg chg="del">
          <ac:chgData name="Curtis Smith" userId="853fbcd611ad0f8e" providerId="LiveId" clId="{79D5096D-7AA8-46DB-ADD7-00C61D078B25}" dt="2026-04-03T03:53:20.448" v="7037" actId="478"/>
          <ac:spMkLst>
            <pc:docMk/>
            <pc:sldMk cId="278999696" sldId="6545"/>
            <ac:spMk id="3" creationId="{2C24B685-AFB2-4378-B833-13CF5E54B3B8}"/>
          </ac:spMkLst>
        </pc:spChg>
        <pc:spChg chg="add mod">
          <ac:chgData name="Curtis Smith" userId="853fbcd611ad0f8e" providerId="LiveId" clId="{79D5096D-7AA8-46DB-ADD7-00C61D078B25}" dt="2026-04-03T03:54:33.669" v="7083" actId="1076"/>
          <ac:spMkLst>
            <pc:docMk/>
            <pc:sldMk cId="278999696" sldId="6545"/>
            <ac:spMk id="7" creationId="{56A75AC9-77AC-4DCC-B437-8CEC17723AE1}"/>
          </ac:spMkLst>
        </pc:spChg>
        <pc:spChg chg="add mod">
          <ac:chgData name="Curtis Smith" userId="853fbcd611ad0f8e" providerId="LiveId" clId="{79D5096D-7AA8-46DB-ADD7-00C61D078B25}" dt="2026-04-03T03:55:20.580" v="7088"/>
          <ac:spMkLst>
            <pc:docMk/>
            <pc:sldMk cId="278999696" sldId="6545"/>
            <ac:spMk id="8" creationId="{367014B9-4233-465A-A780-BB726560FE9C}"/>
          </ac:spMkLst>
        </pc:spChg>
        <pc:picChg chg="add mod ord">
          <ac:chgData name="Curtis Smith" userId="853fbcd611ad0f8e" providerId="LiveId" clId="{79D5096D-7AA8-46DB-ADD7-00C61D078B25}" dt="2026-04-03T03:54:15.084" v="7079" actId="1076"/>
          <ac:picMkLst>
            <pc:docMk/>
            <pc:sldMk cId="278999696" sldId="6545"/>
            <ac:picMk id="6" creationId="{DF9D2927-600D-41A5-B0FD-1CC93FD88DD2}"/>
          </ac:picMkLst>
        </pc:picChg>
        <pc:cxnChg chg="add del mod modVis">
          <ac:chgData name="Curtis Smith" userId="853fbcd611ad0f8e" providerId="LiveId" clId="{79D5096D-7AA8-46DB-ADD7-00C61D078B25}" dt="2026-04-03T01:15:19.298" v="7036"/>
          <ac:cxnSpMkLst>
            <pc:docMk/>
            <pc:sldMk cId="278999696" sldId="6545"/>
            <ac:cxnSpMk id="4" creationId="{C4FECF24-44EC-464A-A276-E31C251A306E}"/>
          </ac:cxnSpMkLst>
        </pc:cxn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278999696" sldId="6545"/>
            <ac:cxnSpMk id="9" creationId="{22FE24E2-EE29-44BE-AE83-20EF91AAFCC3}"/>
          </ac:cxnSpMkLst>
        </pc:cxnChg>
      </pc:sldChg>
      <pc:sldChg chg="addSp delSp modSp new mod modNotesTx">
        <pc:chgData name="Curtis Smith" userId="853fbcd611ad0f8e" providerId="LiveId" clId="{79D5096D-7AA8-46DB-ADD7-00C61D078B25}" dt="2026-04-03T14:56:52.415" v="8213" actId="20577"/>
        <pc:sldMkLst>
          <pc:docMk/>
          <pc:sldMk cId="872892667" sldId="6546"/>
        </pc:sldMkLst>
        <pc:spChg chg="add mod">
          <ac:chgData name="Curtis Smith" userId="853fbcd611ad0f8e" providerId="LiveId" clId="{79D5096D-7AA8-46DB-ADD7-00C61D078B25}" dt="2026-04-03T13:04:36.915" v="7100" actId="207"/>
          <ac:spMkLst>
            <pc:docMk/>
            <pc:sldMk cId="872892667" sldId="6546"/>
            <ac:spMk id="5" creationId="{D0859522-6D22-4569-A15C-37DAC7889534}"/>
          </ac:spMkLst>
        </pc:spChg>
        <pc:spChg chg="add mod">
          <ac:chgData name="Curtis Smith" userId="853fbcd611ad0f8e" providerId="LiveId" clId="{79D5096D-7AA8-46DB-ADD7-00C61D078B25}" dt="2026-04-03T13:09:48.986" v="7200" actId="20577"/>
          <ac:spMkLst>
            <pc:docMk/>
            <pc:sldMk cId="872892667" sldId="6546"/>
            <ac:spMk id="6" creationId="{162A716E-882E-4B06-B70F-98A9CF51B36B}"/>
          </ac:spMkLst>
        </pc:spChg>
        <pc:picChg chg="add mod">
          <ac:chgData name="Curtis Smith" userId="853fbcd611ad0f8e" providerId="LiveId" clId="{79D5096D-7AA8-46DB-ADD7-00C61D078B25}" dt="2026-04-03T13:03:50.578" v="7095" actId="14100"/>
          <ac:picMkLst>
            <pc:docMk/>
            <pc:sldMk cId="872892667" sldId="6546"/>
            <ac:picMk id="4" creationId="{F01638A7-3163-4CC8-8C9B-33CA73D92BEE}"/>
          </ac:picMkLst>
        </pc:picChg>
        <pc:cxnChg chg="add del mod modVis">
          <ac:chgData name="Curtis Smith" userId="853fbcd611ad0f8e" providerId="LiveId" clId="{79D5096D-7AA8-46DB-ADD7-00C61D078B25}" dt="2026-04-03T13:32:25.509" v="8093"/>
          <ac:cxnSpMkLst>
            <pc:docMk/>
            <pc:sldMk cId="872892667" sldId="6546"/>
            <ac:cxnSpMk id="7" creationId="{F01CAA63-6FD7-418A-825A-343D15A90F16}"/>
          </ac:cxnSpMkLst>
        </pc:cxnChg>
      </pc:sldChg>
      <pc:sldMasterChg chg="modSp mod delSldLayout modSldLayout">
        <pc:chgData name="Curtis Smith" userId="853fbcd611ad0f8e" providerId="LiveId" clId="{79D5096D-7AA8-46DB-ADD7-00C61D078B25}" dt="2026-04-01T21:21:39.912" v="2044" actId="47"/>
        <pc:sldMasterMkLst>
          <pc:docMk/>
          <pc:sldMasterMk cId="1507781997" sldId="2147483683"/>
        </pc:sldMasterMkLst>
        <pc:spChg chg="mod">
          <ac:chgData name="Curtis Smith" userId="853fbcd611ad0f8e" providerId="LiveId" clId="{79D5096D-7AA8-46DB-ADD7-00C61D078B25}" dt="2026-03-31T16:52:02.207" v="971" actId="1037"/>
          <ac:spMkLst>
            <pc:docMk/>
            <pc:sldMasterMk cId="1507781997" sldId="2147483683"/>
            <ac:spMk id="8" creationId="{90E7BA53-E053-403D-B61C-5FC94ED6A606}"/>
          </ac:spMkLst>
        </pc:spChg>
        <pc:sldLayoutChg chg="addSp delSp modSp mod">
          <pc:chgData name="Curtis Smith" userId="853fbcd611ad0f8e" providerId="LiveId" clId="{79D5096D-7AA8-46DB-ADD7-00C61D078B25}" dt="2026-03-31T16:52:07.560" v="973"/>
          <pc:sldLayoutMkLst>
            <pc:docMk/>
            <pc:sldMasterMk cId="1507781997" sldId="2147483683"/>
            <pc:sldLayoutMk cId="1435115501" sldId="2147483684"/>
          </pc:sldLayoutMkLst>
          <pc:spChg chg="del">
            <ac:chgData name="Curtis Smith" userId="853fbcd611ad0f8e" providerId="LiveId" clId="{79D5096D-7AA8-46DB-ADD7-00C61D078B25}" dt="2026-03-31T16:50:58.796" v="952" actId="478"/>
            <ac:spMkLst>
              <pc:docMk/>
              <pc:sldMasterMk cId="1507781997" sldId="2147483683"/>
              <pc:sldLayoutMk cId="1435115501" sldId="2147483684"/>
              <ac:spMk id="4" creationId="{A9C786C7-0CBC-4702-9C93-D8C2DFC3F90F}"/>
            </ac:spMkLst>
          </pc:spChg>
          <pc:spChg chg="add del mod">
            <ac:chgData name="Curtis Smith" userId="853fbcd611ad0f8e" providerId="LiveId" clId="{79D5096D-7AA8-46DB-ADD7-00C61D078B25}" dt="2026-03-31T16:52:07.130" v="972" actId="478"/>
            <ac:spMkLst>
              <pc:docMk/>
              <pc:sldMasterMk cId="1507781997" sldId="2147483683"/>
              <pc:sldLayoutMk cId="1435115501" sldId="2147483684"/>
              <ac:spMk id="5" creationId="{CD290538-B4F3-4769-9B81-7F396C355BC6}"/>
            </ac:spMkLst>
          </pc:spChg>
          <pc:spChg chg="add mod">
            <ac:chgData name="Curtis Smith" userId="853fbcd611ad0f8e" providerId="LiveId" clId="{79D5096D-7AA8-46DB-ADD7-00C61D078B25}" dt="2026-03-31T16:52:07.560" v="973"/>
            <ac:spMkLst>
              <pc:docMk/>
              <pc:sldMasterMk cId="1507781997" sldId="2147483683"/>
              <pc:sldLayoutMk cId="1435115501" sldId="2147483684"/>
              <ac:spMk id="6" creationId="{1C4F848A-23E6-4CD6-B422-0C127D518BE5}"/>
            </ac:spMkLst>
          </pc:spChg>
        </pc:sldLayoutChg>
        <pc:sldLayoutChg chg="addSp delSp modSp mod">
          <pc:chgData name="Curtis Smith" userId="853fbcd611ad0f8e" providerId="LiveId" clId="{79D5096D-7AA8-46DB-ADD7-00C61D078B25}" dt="2026-03-31T16:52:10.836" v="975"/>
          <pc:sldLayoutMkLst>
            <pc:docMk/>
            <pc:sldMasterMk cId="1507781997" sldId="2147483683"/>
            <pc:sldLayoutMk cId="2694874046" sldId="2147483685"/>
          </pc:sldLayoutMkLst>
          <pc:spChg chg="del">
            <ac:chgData name="Curtis Smith" userId="853fbcd611ad0f8e" providerId="LiveId" clId="{79D5096D-7AA8-46DB-ADD7-00C61D078B25}" dt="2026-03-31T16:51:03.372" v="953" actId="478"/>
            <ac:spMkLst>
              <pc:docMk/>
              <pc:sldMasterMk cId="1507781997" sldId="2147483683"/>
              <pc:sldLayoutMk cId="2694874046" sldId="2147483685"/>
              <ac:spMk id="5" creationId="{8150F6BD-5643-4F52-871C-55209AFBEC39}"/>
            </ac:spMkLst>
          </pc:spChg>
          <pc:spChg chg="add del mod">
            <ac:chgData name="Curtis Smith" userId="853fbcd611ad0f8e" providerId="LiveId" clId="{79D5096D-7AA8-46DB-ADD7-00C61D078B25}" dt="2026-03-31T16:52:10.433" v="974" actId="478"/>
            <ac:spMkLst>
              <pc:docMk/>
              <pc:sldMasterMk cId="1507781997" sldId="2147483683"/>
              <pc:sldLayoutMk cId="2694874046" sldId="2147483685"/>
              <ac:spMk id="6" creationId="{951A03FF-5796-4030-A80C-2B0B6D610ACB}"/>
            </ac:spMkLst>
          </pc:spChg>
          <pc:spChg chg="add mod">
            <ac:chgData name="Curtis Smith" userId="853fbcd611ad0f8e" providerId="LiveId" clId="{79D5096D-7AA8-46DB-ADD7-00C61D078B25}" dt="2026-03-31T16:52:10.836" v="975"/>
            <ac:spMkLst>
              <pc:docMk/>
              <pc:sldMasterMk cId="1507781997" sldId="2147483683"/>
              <pc:sldLayoutMk cId="2694874046" sldId="2147483685"/>
              <ac:spMk id="7" creationId="{94E9E989-FB5F-4AEA-B91C-DF99D0649D32}"/>
            </ac:spMkLst>
          </pc:spChg>
        </pc:sldLayoutChg>
        <pc:sldLayoutChg chg="delSp del mod">
          <pc:chgData name="Curtis Smith" userId="853fbcd611ad0f8e" providerId="LiveId" clId="{79D5096D-7AA8-46DB-ADD7-00C61D078B25}" dt="2026-03-31T16:51:09.793" v="955" actId="2696"/>
          <pc:sldLayoutMkLst>
            <pc:docMk/>
            <pc:sldMasterMk cId="1507781997" sldId="2147483683"/>
            <pc:sldLayoutMk cId="1203550776" sldId="2147483686"/>
          </pc:sldLayoutMkLst>
          <pc:spChg chg="del">
            <ac:chgData name="Curtis Smith" userId="853fbcd611ad0f8e" providerId="LiveId" clId="{79D5096D-7AA8-46DB-ADD7-00C61D078B25}" dt="2026-03-31T16:51:06.287" v="954" actId="478"/>
            <ac:spMkLst>
              <pc:docMk/>
              <pc:sldMasterMk cId="1507781997" sldId="2147483683"/>
              <pc:sldLayoutMk cId="1203550776" sldId="2147483686"/>
              <ac:spMk id="9" creationId="{D665DD20-00D6-4645-A4A2-E48CA73D4D2D}"/>
            </ac:spMkLst>
          </pc:spChg>
        </pc:sldLayoutChg>
        <pc:sldLayoutChg chg="addSp delSp modSp mod">
          <pc:chgData name="Curtis Smith" userId="853fbcd611ad0f8e" providerId="LiveId" clId="{79D5096D-7AA8-46DB-ADD7-00C61D078B25}" dt="2026-03-31T16:52:13.441" v="977"/>
          <pc:sldLayoutMkLst>
            <pc:docMk/>
            <pc:sldMasterMk cId="1507781997" sldId="2147483683"/>
            <pc:sldLayoutMk cId="3229067719" sldId="2147483687"/>
          </pc:sldLayoutMkLst>
          <pc:spChg chg="del">
            <ac:chgData name="Curtis Smith" userId="853fbcd611ad0f8e" providerId="LiveId" clId="{79D5096D-7AA8-46DB-ADD7-00C61D078B25}" dt="2026-03-31T16:51:12.584" v="956" actId="478"/>
            <ac:spMkLst>
              <pc:docMk/>
              <pc:sldMasterMk cId="1507781997" sldId="2147483683"/>
              <pc:sldLayoutMk cId="3229067719" sldId="2147483687"/>
              <ac:spMk id="2" creationId="{CC0A450A-C1C5-436E-BB9D-BC25B551C386}"/>
            </ac:spMkLst>
          </pc:spChg>
          <pc:spChg chg="add del mod">
            <ac:chgData name="Curtis Smith" userId="853fbcd611ad0f8e" providerId="LiveId" clId="{79D5096D-7AA8-46DB-ADD7-00C61D078B25}" dt="2026-03-31T16:52:13.076" v="976" actId="478"/>
            <ac:spMkLst>
              <pc:docMk/>
              <pc:sldMasterMk cId="1507781997" sldId="2147483683"/>
              <pc:sldLayoutMk cId="3229067719" sldId="2147483687"/>
              <ac:spMk id="3" creationId="{8530766A-D3D9-4C8B-8E31-43F43679DE6E}"/>
            </ac:spMkLst>
          </pc:spChg>
          <pc:spChg chg="add mod">
            <ac:chgData name="Curtis Smith" userId="853fbcd611ad0f8e" providerId="LiveId" clId="{79D5096D-7AA8-46DB-ADD7-00C61D078B25}" dt="2026-03-31T16:52:13.441" v="977"/>
            <ac:spMkLst>
              <pc:docMk/>
              <pc:sldMasterMk cId="1507781997" sldId="2147483683"/>
              <pc:sldLayoutMk cId="3229067719" sldId="2147483687"/>
              <ac:spMk id="4" creationId="{EB27A748-9B2A-4075-A192-34BAC719C30C}"/>
            </ac:spMkLst>
          </pc:spChg>
        </pc:sldLayoutChg>
        <pc:sldLayoutChg chg="addSp delSp modSp mod">
          <pc:chgData name="Curtis Smith" userId="853fbcd611ad0f8e" providerId="LiveId" clId="{79D5096D-7AA8-46DB-ADD7-00C61D078B25}" dt="2026-03-31T16:52:16.939" v="979"/>
          <pc:sldLayoutMkLst>
            <pc:docMk/>
            <pc:sldMasterMk cId="1507781997" sldId="2147483683"/>
            <pc:sldLayoutMk cId="1052469816" sldId="2147483725"/>
          </pc:sldLayoutMkLst>
          <pc:spChg chg="del">
            <ac:chgData name="Curtis Smith" userId="853fbcd611ad0f8e" providerId="LiveId" clId="{79D5096D-7AA8-46DB-ADD7-00C61D078B25}" dt="2026-03-31T16:51:15.781" v="957" actId="478"/>
            <ac:spMkLst>
              <pc:docMk/>
              <pc:sldMasterMk cId="1507781997" sldId="2147483683"/>
              <pc:sldLayoutMk cId="1052469816" sldId="2147483725"/>
              <ac:spMk id="2" creationId="{CC0A450A-C1C5-436E-BB9D-BC25B551C386}"/>
            </ac:spMkLst>
          </pc:spChg>
          <pc:spChg chg="add del mod">
            <ac:chgData name="Curtis Smith" userId="853fbcd611ad0f8e" providerId="LiveId" clId="{79D5096D-7AA8-46DB-ADD7-00C61D078B25}" dt="2026-03-31T16:52:16.556" v="978" actId="478"/>
            <ac:spMkLst>
              <pc:docMk/>
              <pc:sldMasterMk cId="1507781997" sldId="2147483683"/>
              <pc:sldLayoutMk cId="1052469816" sldId="2147483725"/>
              <ac:spMk id="4" creationId="{5C3C90D6-1048-4A2C-85D3-7097D06F7A05}"/>
            </ac:spMkLst>
          </pc:spChg>
          <pc:spChg chg="add mod">
            <ac:chgData name="Curtis Smith" userId="853fbcd611ad0f8e" providerId="LiveId" clId="{79D5096D-7AA8-46DB-ADD7-00C61D078B25}" dt="2026-03-31T16:52:16.939" v="979"/>
            <ac:spMkLst>
              <pc:docMk/>
              <pc:sldMasterMk cId="1507781997" sldId="2147483683"/>
              <pc:sldLayoutMk cId="1052469816" sldId="2147483725"/>
              <ac:spMk id="5" creationId="{057C4E92-A030-4FBA-A4BD-7ABA0A9B21C3}"/>
            </ac:spMkLst>
          </pc:spChg>
        </pc:sldLayoutChg>
        <pc:sldLayoutChg chg="addSp delSp modSp mod">
          <pc:chgData name="Curtis Smith" userId="853fbcd611ad0f8e" providerId="LiveId" clId="{79D5096D-7AA8-46DB-ADD7-00C61D078B25}" dt="2026-03-31T16:52:19.721" v="981"/>
          <pc:sldLayoutMkLst>
            <pc:docMk/>
            <pc:sldMasterMk cId="1507781997" sldId="2147483683"/>
            <pc:sldLayoutMk cId="852785546" sldId="2147483726"/>
          </pc:sldLayoutMkLst>
          <pc:spChg chg="del">
            <ac:chgData name="Curtis Smith" userId="853fbcd611ad0f8e" providerId="LiveId" clId="{79D5096D-7AA8-46DB-ADD7-00C61D078B25}" dt="2026-03-31T16:52:19.226" v="980" actId="478"/>
            <ac:spMkLst>
              <pc:docMk/>
              <pc:sldMasterMk cId="1507781997" sldId="2147483683"/>
              <pc:sldLayoutMk cId="852785546" sldId="2147483726"/>
              <ac:spMk id="3" creationId="{00000000-0000-0000-0000-000000000000}"/>
            </ac:spMkLst>
          </pc:spChg>
          <pc:spChg chg="add mod">
            <ac:chgData name="Curtis Smith" userId="853fbcd611ad0f8e" providerId="LiveId" clId="{79D5096D-7AA8-46DB-ADD7-00C61D078B25}" dt="2026-03-31T16:52:19.721" v="981"/>
            <ac:spMkLst>
              <pc:docMk/>
              <pc:sldMasterMk cId="1507781997" sldId="2147483683"/>
              <pc:sldLayoutMk cId="852785546" sldId="2147483726"/>
              <ac:spMk id="4" creationId="{3B0CF98C-33F3-4EB1-A764-4F3DD41B0579}"/>
            </ac:spMkLst>
          </pc:spChg>
        </pc:sldLayoutChg>
        <pc:sldLayoutChg chg="addSp delSp modSp mod">
          <pc:chgData name="Curtis Smith" userId="853fbcd611ad0f8e" providerId="LiveId" clId="{79D5096D-7AA8-46DB-ADD7-00C61D078B25}" dt="2026-03-31T16:52:22.220" v="983"/>
          <pc:sldLayoutMkLst>
            <pc:docMk/>
            <pc:sldMasterMk cId="1507781997" sldId="2147483683"/>
            <pc:sldLayoutMk cId="2521404011" sldId="2147483727"/>
          </pc:sldLayoutMkLst>
          <pc:spChg chg="add del mod">
            <ac:chgData name="Curtis Smith" userId="853fbcd611ad0f8e" providerId="LiveId" clId="{79D5096D-7AA8-46DB-ADD7-00C61D078B25}" dt="2026-03-31T16:52:21.858" v="982" actId="478"/>
            <ac:spMkLst>
              <pc:docMk/>
              <pc:sldMasterMk cId="1507781997" sldId="2147483683"/>
              <pc:sldLayoutMk cId="2521404011" sldId="2147483727"/>
              <ac:spMk id="2" creationId="{022D3A77-DCCE-44AA-B13A-42634E730BFE}"/>
            </ac:spMkLst>
          </pc:spChg>
          <pc:spChg chg="add mod">
            <ac:chgData name="Curtis Smith" userId="853fbcd611ad0f8e" providerId="LiveId" clId="{79D5096D-7AA8-46DB-ADD7-00C61D078B25}" dt="2026-03-31T16:52:22.220" v="983"/>
            <ac:spMkLst>
              <pc:docMk/>
              <pc:sldMasterMk cId="1507781997" sldId="2147483683"/>
              <pc:sldLayoutMk cId="2521404011" sldId="2147483727"/>
              <ac:spMk id="3" creationId="{634FBF8B-D01F-4F4D-BB2F-EE108FB5739A}"/>
            </ac:spMkLst>
          </pc:spChg>
        </pc:sldLayoutChg>
        <pc:sldLayoutChg chg="del">
          <pc:chgData name="Curtis Smith" userId="853fbcd611ad0f8e" providerId="LiveId" clId="{79D5096D-7AA8-46DB-ADD7-00C61D078B25}" dt="2026-03-31T14:31:24.358" v="20" actId="47"/>
          <pc:sldLayoutMkLst>
            <pc:docMk/>
            <pc:sldMasterMk cId="1507781997" sldId="2147483683"/>
            <pc:sldLayoutMk cId="798852090" sldId="2147483728"/>
          </pc:sldLayoutMkLst>
        </pc:sldLayoutChg>
        <pc:sldLayoutChg chg="delSp del mod">
          <pc:chgData name="Curtis Smith" userId="853fbcd611ad0f8e" providerId="LiveId" clId="{79D5096D-7AA8-46DB-ADD7-00C61D078B25}" dt="2026-04-01T21:21:39.912" v="2044" actId="47"/>
          <pc:sldLayoutMkLst>
            <pc:docMk/>
            <pc:sldMasterMk cId="1507781997" sldId="2147483683"/>
            <pc:sldLayoutMk cId="3984245672" sldId="2147483729"/>
          </pc:sldLayoutMkLst>
          <pc:picChg chg="del">
            <ac:chgData name="Curtis Smith" userId="853fbcd611ad0f8e" providerId="LiveId" clId="{79D5096D-7AA8-46DB-ADD7-00C61D078B25}" dt="2026-03-31T17:09:45.810" v="1127" actId="21"/>
            <ac:picMkLst>
              <pc:docMk/>
              <pc:sldMasterMk cId="1507781997" sldId="2147483683"/>
              <pc:sldLayoutMk cId="3984245672" sldId="2147483729"/>
              <ac:picMk id="2" creationId="{18525948-CDD0-21D5-E55B-24F14640F8CA}"/>
            </ac:picMkLst>
          </pc:picChg>
          <pc:picChg chg="del">
            <ac:chgData name="Curtis Smith" userId="853fbcd611ad0f8e" providerId="LiveId" clId="{79D5096D-7AA8-46DB-ADD7-00C61D078B25}" dt="2026-03-31T17:09:43.166" v="1126" actId="478"/>
            <ac:picMkLst>
              <pc:docMk/>
              <pc:sldMasterMk cId="1507781997" sldId="2147483683"/>
              <pc:sldLayoutMk cId="3984245672" sldId="2147483729"/>
              <ac:picMk id="23" creationId="{1947783E-1EAB-26F4-125E-A2C1EBB114F8}"/>
            </ac:picMkLst>
          </pc:picChg>
        </pc:sldLayoutChg>
      </pc:sldMasterChg>
    </pc:docChg>
  </pc:docChgLst>
  <pc:docChgLst>
    <pc:chgData name="Curtis Smith" userId="853fbcd611ad0f8e" providerId="LiveId" clId="{BAE2F0A4-EE12-4196-8BE0-F829FD874D07}"/>
    <pc:docChg chg="undo custSel addSld delSld modSld">
      <pc:chgData name="Curtis Smith" userId="853fbcd611ad0f8e" providerId="LiveId" clId="{BAE2F0A4-EE12-4196-8BE0-F829FD874D07}" dt="2026-05-27T18:42:24.503" v="979" actId="47"/>
      <pc:docMkLst>
        <pc:docMk/>
      </pc:docMkLst>
      <pc:sldChg chg="modSp mod">
        <pc:chgData name="Curtis Smith" userId="853fbcd611ad0f8e" providerId="LiveId" clId="{BAE2F0A4-EE12-4196-8BE0-F829FD874D07}" dt="2026-05-27T16:46:24.854" v="1" actId="6549"/>
        <pc:sldMkLst>
          <pc:docMk/>
          <pc:sldMk cId="1723685364" sldId="257"/>
        </pc:sldMkLst>
        <pc:spChg chg="mod">
          <ac:chgData name="Curtis Smith" userId="853fbcd611ad0f8e" providerId="LiveId" clId="{BAE2F0A4-EE12-4196-8BE0-F829FD874D07}" dt="2026-05-27T16:46:24.854" v="1" actId="6549"/>
          <ac:spMkLst>
            <pc:docMk/>
            <pc:sldMk cId="1723685364" sldId="257"/>
            <ac:spMk id="2" creationId="{00000000-0000-0000-0000-000000000000}"/>
          </ac:spMkLst>
        </pc:spChg>
      </pc:sldChg>
      <pc:sldChg chg="modSp mod">
        <pc:chgData name="Curtis Smith" userId="853fbcd611ad0f8e" providerId="LiveId" clId="{BAE2F0A4-EE12-4196-8BE0-F829FD874D07}" dt="2026-05-27T18:35:01.943" v="938" actId="5793"/>
        <pc:sldMkLst>
          <pc:docMk/>
          <pc:sldMk cId="2722661406" sldId="1877"/>
        </pc:sldMkLst>
        <pc:spChg chg="mod">
          <ac:chgData name="Curtis Smith" userId="853fbcd611ad0f8e" providerId="LiveId" clId="{BAE2F0A4-EE12-4196-8BE0-F829FD874D07}" dt="2026-05-27T18:35:01.943" v="938" actId="5793"/>
          <ac:spMkLst>
            <pc:docMk/>
            <pc:sldMk cId="2722661406" sldId="1877"/>
            <ac:spMk id="7" creationId="{79973AC6-F246-4727-97BF-8EBA42D76FAA}"/>
          </ac:spMkLst>
        </pc:spChg>
      </pc:sldChg>
      <pc:sldChg chg="modSp del mod">
        <pc:chgData name="Curtis Smith" userId="853fbcd611ad0f8e" providerId="LiveId" clId="{BAE2F0A4-EE12-4196-8BE0-F829FD874D07}" dt="2026-05-27T18:42:24.503" v="979" actId="47"/>
        <pc:sldMkLst>
          <pc:docMk/>
          <pc:sldMk cId="2918020660" sldId="4855"/>
        </pc:sldMkLst>
        <pc:spChg chg="mod">
          <ac:chgData name="Curtis Smith" userId="853fbcd611ad0f8e" providerId="LiveId" clId="{BAE2F0A4-EE12-4196-8BE0-F829FD874D07}" dt="2026-05-27T16:47:47.505" v="77" actId="20577"/>
          <ac:spMkLst>
            <pc:docMk/>
            <pc:sldMk cId="2918020660" sldId="4855"/>
            <ac:spMk id="7" creationId="{3A4A582B-4412-44A5-A005-2803BA726049}"/>
          </ac:spMkLst>
        </pc:spChg>
      </pc:sldChg>
      <pc:sldChg chg="modSp mod">
        <pc:chgData name="Curtis Smith" userId="853fbcd611ad0f8e" providerId="LiveId" clId="{BAE2F0A4-EE12-4196-8BE0-F829FD874D07}" dt="2026-05-27T16:47:29.125" v="76" actId="14100"/>
        <pc:sldMkLst>
          <pc:docMk/>
          <pc:sldMk cId="1589333967" sldId="4856"/>
        </pc:sldMkLst>
        <pc:spChg chg="mod">
          <ac:chgData name="Curtis Smith" userId="853fbcd611ad0f8e" providerId="LiveId" clId="{BAE2F0A4-EE12-4196-8BE0-F829FD874D07}" dt="2026-05-27T16:47:29.125" v="76" actId="14100"/>
          <ac:spMkLst>
            <pc:docMk/>
            <pc:sldMk cId="1589333967" sldId="4856"/>
            <ac:spMk id="5" creationId="{00000000-0000-0000-0000-000000000000}"/>
          </ac:spMkLst>
        </pc:spChg>
      </pc:sldChg>
      <pc:sldChg chg="modSp mod">
        <pc:chgData name="Curtis Smith" userId="853fbcd611ad0f8e" providerId="LiveId" clId="{BAE2F0A4-EE12-4196-8BE0-F829FD874D07}" dt="2026-05-27T18:36:48.169" v="973" actId="6549"/>
        <pc:sldMkLst>
          <pc:docMk/>
          <pc:sldMk cId="1458448935" sldId="4859"/>
        </pc:sldMkLst>
        <pc:spChg chg="mod">
          <ac:chgData name="Curtis Smith" userId="853fbcd611ad0f8e" providerId="LiveId" clId="{BAE2F0A4-EE12-4196-8BE0-F829FD874D07}" dt="2026-05-27T18:36:48.169" v="973" actId="6549"/>
          <ac:spMkLst>
            <pc:docMk/>
            <pc:sldMk cId="1458448935" sldId="4859"/>
            <ac:spMk id="9" creationId="{FEF7A950-A1A6-4934-B50E-7CDBB984B261}"/>
          </ac:spMkLst>
        </pc:spChg>
      </pc:sldChg>
      <pc:sldChg chg="modSp mod">
        <pc:chgData name="Curtis Smith" userId="853fbcd611ad0f8e" providerId="LiveId" clId="{BAE2F0A4-EE12-4196-8BE0-F829FD874D07}" dt="2026-05-27T16:48:16.778" v="99" actId="20577"/>
        <pc:sldMkLst>
          <pc:docMk/>
          <pc:sldMk cId="1132796151" sldId="6520"/>
        </pc:sldMkLst>
        <pc:spChg chg="mod">
          <ac:chgData name="Curtis Smith" userId="853fbcd611ad0f8e" providerId="LiveId" clId="{BAE2F0A4-EE12-4196-8BE0-F829FD874D07}" dt="2026-05-27T16:48:16.778" v="99" actId="20577"/>
          <ac:spMkLst>
            <pc:docMk/>
            <pc:sldMk cId="1132796151" sldId="6520"/>
            <ac:spMk id="6" creationId="{65D44080-5964-4EAA-A9C4-928BA1D19935}"/>
          </ac:spMkLst>
        </pc:spChg>
      </pc:sldChg>
      <pc:sldChg chg="modSp mod">
        <pc:chgData name="Curtis Smith" userId="853fbcd611ad0f8e" providerId="LiveId" clId="{BAE2F0A4-EE12-4196-8BE0-F829FD874D07}" dt="2026-05-27T16:52:56.110" v="243" actId="20577"/>
        <pc:sldMkLst>
          <pc:docMk/>
          <pc:sldMk cId="1528464671" sldId="6521"/>
        </pc:sldMkLst>
        <pc:spChg chg="mod">
          <ac:chgData name="Curtis Smith" userId="853fbcd611ad0f8e" providerId="LiveId" clId="{BAE2F0A4-EE12-4196-8BE0-F829FD874D07}" dt="2026-05-27T16:52:56.110" v="243" actId="20577"/>
          <ac:spMkLst>
            <pc:docMk/>
            <pc:sldMk cId="1528464671" sldId="6521"/>
            <ac:spMk id="6" creationId="{1C5A1C1A-053F-496F-9D05-D7D492185706}"/>
          </ac:spMkLst>
        </pc:spChg>
      </pc:sldChg>
      <pc:sldChg chg="modSp mod">
        <pc:chgData name="Curtis Smith" userId="853fbcd611ad0f8e" providerId="LiveId" clId="{BAE2F0A4-EE12-4196-8BE0-F829FD874D07}" dt="2026-05-27T18:08:59.322" v="408" actId="20577"/>
        <pc:sldMkLst>
          <pc:docMk/>
          <pc:sldMk cId="1975827597" sldId="6522"/>
        </pc:sldMkLst>
        <pc:spChg chg="mod">
          <ac:chgData name="Curtis Smith" userId="853fbcd611ad0f8e" providerId="LiveId" clId="{BAE2F0A4-EE12-4196-8BE0-F829FD874D07}" dt="2026-05-27T18:08:59.322" v="408" actId="20577"/>
          <ac:spMkLst>
            <pc:docMk/>
            <pc:sldMk cId="1975827597" sldId="6522"/>
            <ac:spMk id="7" creationId="{9DDE22E1-B590-4078-AFB7-1EB625C5444A}"/>
          </ac:spMkLst>
        </pc:spChg>
      </pc:sldChg>
      <pc:sldChg chg="addSp delSp modSp mod">
        <pc:chgData name="Curtis Smith" userId="853fbcd611ad0f8e" providerId="LiveId" clId="{BAE2F0A4-EE12-4196-8BE0-F829FD874D07}" dt="2026-05-27T18:11:54.393" v="488" actId="20577"/>
        <pc:sldMkLst>
          <pc:docMk/>
          <pc:sldMk cId="2002674615" sldId="6530"/>
        </pc:sldMkLst>
        <pc:spChg chg="add mod">
          <ac:chgData name="Curtis Smith" userId="853fbcd611ad0f8e" providerId="LiveId" clId="{BAE2F0A4-EE12-4196-8BE0-F829FD874D07}" dt="2026-05-27T18:11:54.393" v="488" actId="20577"/>
          <ac:spMkLst>
            <pc:docMk/>
            <pc:sldMk cId="2002674615" sldId="6530"/>
            <ac:spMk id="6" creationId="{783D2712-70E3-4DFA-A710-C1E9FBD426AF}"/>
          </ac:spMkLst>
        </pc:spChg>
        <pc:picChg chg="del">
          <ac:chgData name="Curtis Smith" userId="853fbcd611ad0f8e" providerId="LiveId" clId="{BAE2F0A4-EE12-4196-8BE0-F829FD874D07}" dt="2026-05-27T18:09:17.813" v="409" actId="478"/>
          <ac:picMkLst>
            <pc:docMk/>
            <pc:sldMk cId="2002674615" sldId="6530"/>
            <ac:picMk id="15" creationId="{B08B2FF3-7F49-4FC1-A2CF-20BB47FA8396}"/>
          </ac:picMkLst>
        </pc:picChg>
      </pc:sldChg>
      <pc:sldChg chg="modSp mod">
        <pc:chgData name="Curtis Smith" userId="853fbcd611ad0f8e" providerId="LiveId" clId="{BAE2F0A4-EE12-4196-8BE0-F829FD874D07}" dt="2026-05-27T18:36:01.817" v="952" actId="20577"/>
        <pc:sldMkLst>
          <pc:docMk/>
          <pc:sldMk cId="1960926339" sldId="6531"/>
        </pc:sldMkLst>
        <pc:spChg chg="mod">
          <ac:chgData name="Curtis Smith" userId="853fbcd611ad0f8e" providerId="LiveId" clId="{BAE2F0A4-EE12-4196-8BE0-F829FD874D07}" dt="2026-05-27T18:36:01.817" v="952" actId="20577"/>
          <ac:spMkLst>
            <pc:docMk/>
            <pc:sldMk cId="1960926339" sldId="6531"/>
            <ac:spMk id="3" creationId="{2C24B685-AFB2-4378-B833-13CF5E54B3B8}"/>
          </ac:spMkLst>
        </pc:spChg>
      </pc:sldChg>
      <pc:sldChg chg="modSp mod">
        <pc:chgData name="Curtis Smith" userId="853fbcd611ad0f8e" providerId="LiveId" clId="{BAE2F0A4-EE12-4196-8BE0-F829FD874D07}" dt="2026-05-27T18:35:15.322" v="943" actId="5793"/>
        <pc:sldMkLst>
          <pc:docMk/>
          <pc:sldMk cId="145791311" sldId="6532"/>
        </pc:sldMkLst>
        <pc:spChg chg="mod">
          <ac:chgData name="Curtis Smith" userId="853fbcd611ad0f8e" providerId="LiveId" clId="{BAE2F0A4-EE12-4196-8BE0-F829FD874D07}" dt="2026-05-27T18:14:09.297" v="513" actId="404"/>
          <ac:spMkLst>
            <pc:docMk/>
            <pc:sldMk cId="145791311" sldId="6532"/>
            <ac:spMk id="2" creationId="{1867DEF7-ECE2-40F2-974D-53C13489BD5E}"/>
          </ac:spMkLst>
        </pc:spChg>
        <pc:spChg chg="mod">
          <ac:chgData name="Curtis Smith" userId="853fbcd611ad0f8e" providerId="LiveId" clId="{BAE2F0A4-EE12-4196-8BE0-F829FD874D07}" dt="2026-05-27T18:14:09.297" v="513" actId="404"/>
          <ac:spMkLst>
            <pc:docMk/>
            <pc:sldMk cId="145791311" sldId="6532"/>
            <ac:spMk id="5" creationId="{76BD6177-DCA3-4D9B-B27D-4D50A6AA9A70}"/>
          </ac:spMkLst>
        </pc:spChg>
        <pc:spChg chg="mod">
          <ac:chgData name="Curtis Smith" userId="853fbcd611ad0f8e" providerId="LiveId" clId="{BAE2F0A4-EE12-4196-8BE0-F829FD874D07}" dt="2026-05-27T18:35:15.322" v="943" actId="5793"/>
          <ac:spMkLst>
            <pc:docMk/>
            <pc:sldMk cId="145791311" sldId="6532"/>
            <ac:spMk id="6" creationId="{93F770C3-BBAF-41CA-B692-B090BE17C106}"/>
          </ac:spMkLst>
        </pc:spChg>
      </pc:sldChg>
      <pc:sldChg chg="del">
        <pc:chgData name="Curtis Smith" userId="853fbcd611ad0f8e" providerId="LiveId" clId="{BAE2F0A4-EE12-4196-8BE0-F829FD874D07}" dt="2026-05-27T18:35:32.846" v="944" actId="47"/>
        <pc:sldMkLst>
          <pc:docMk/>
          <pc:sldMk cId="1857344237" sldId="6533"/>
        </pc:sldMkLst>
      </pc:sldChg>
      <pc:sldChg chg="addSp modSp mod">
        <pc:chgData name="Curtis Smith" userId="853fbcd611ad0f8e" providerId="LiveId" clId="{BAE2F0A4-EE12-4196-8BE0-F829FD874D07}" dt="2026-05-27T18:34:21.082" v="933" actId="313"/>
        <pc:sldMkLst>
          <pc:docMk/>
          <pc:sldMk cId="3303577926" sldId="6537"/>
        </pc:sldMkLst>
        <pc:spChg chg="mod">
          <ac:chgData name="Curtis Smith" userId="853fbcd611ad0f8e" providerId="LiveId" clId="{BAE2F0A4-EE12-4196-8BE0-F829FD874D07}" dt="2026-05-27T18:34:21.082" v="933" actId="313"/>
          <ac:spMkLst>
            <pc:docMk/>
            <pc:sldMk cId="3303577926" sldId="6537"/>
            <ac:spMk id="6" creationId="{DD577396-39FE-47CA-BF30-6742D3B5C356}"/>
          </ac:spMkLst>
        </pc:spChg>
        <pc:spChg chg="add mod">
          <ac:chgData name="Curtis Smith" userId="853fbcd611ad0f8e" providerId="LiveId" clId="{BAE2F0A4-EE12-4196-8BE0-F829FD874D07}" dt="2026-05-27T18:30:36.652" v="851" actId="1076"/>
          <ac:spMkLst>
            <pc:docMk/>
            <pc:sldMk cId="3303577926" sldId="6537"/>
            <ac:spMk id="7" creationId="{F65548A5-EFE0-45F1-ADF3-6ADAB24C16B3}"/>
          </ac:spMkLst>
        </pc:spChg>
      </pc:sldChg>
      <pc:sldChg chg="del">
        <pc:chgData name="Curtis Smith" userId="853fbcd611ad0f8e" providerId="LiveId" clId="{BAE2F0A4-EE12-4196-8BE0-F829FD874D07}" dt="2026-05-27T18:17:46.323" v="637" actId="47"/>
        <pc:sldMkLst>
          <pc:docMk/>
          <pc:sldMk cId="2535603628" sldId="6540"/>
        </pc:sldMkLst>
      </pc:sldChg>
      <pc:sldChg chg="modSp mod">
        <pc:chgData name="Curtis Smith" userId="853fbcd611ad0f8e" providerId="LiveId" clId="{BAE2F0A4-EE12-4196-8BE0-F829FD874D07}" dt="2026-05-27T18:26:07.752" v="845" actId="20577"/>
        <pc:sldMkLst>
          <pc:docMk/>
          <pc:sldMk cId="278999696" sldId="6545"/>
        </pc:sldMkLst>
        <pc:spChg chg="mod">
          <ac:chgData name="Curtis Smith" userId="853fbcd611ad0f8e" providerId="LiveId" clId="{BAE2F0A4-EE12-4196-8BE0-F829FD874D07}" dt="2026-05-27T18:26:07.752" v="845" actId="20577"/>
          <ac:spMkLst>
            <pc:docMk/>
            <pc:sldMk cId="278999696" sldId="6545"/>
            <ac:spMk id="7" creationId="{56A75AC9-77AC-4DCC-B437-8CEC17723AE1}"/>
          </ac:spMkLst>
        </pc:spChg>
      </pc:sldChg>
      <pc:sldChg chg="modSp mod">
        <pc:chgData name="Curtis Smith" userId="853fbcd611ad0f8e" providerId="LiveId" clId="{BAE2F0A4-EE12-4196-8BE0-F829FD874D07}" dt="2026-05-27T18:37:28.039" v="978" actId="1076"/>
        <pc:sldMkLst>
          <pc:docMk/>
          <pc:sldMk cId="872892667" sldId="6546"/>
        </pc:sldMkLst>
        <pc:spChg chg="mod">
          <ac:chgData name="Curtis Smith" userId="853fbcd611ad0f8e" providerId="LiveId" clId="{BAE2F0A4-EE12-4196-8BE0-F829FD874D07}" dt="2026-05-27T18:37:28.039" v="978" actId="1076"/>
          <ac:spMkLst>
            <pc:docMk/>
            <pc:sldMk cId="872892667" sldId="6546"/>
            <ac:spMk id="6" creationId="{162A716E-882E-4B06-B70F-98A9CF51B36B}"/>
          </ac:spMkLst>
        </pc:spChg>
      </pc:sldChg>
      <pc:sldChg chg="modSp mod">
        <pc:chgData name="Curtis Smith" userId="853fbcd611ad0f8e" providerId="LiveId" clId="{BAE2F0A4-EE12-4196-8BE0-F829FD874D07}" dt="2026-05-27T18:12:40.845" v="498" actId="20577"/>
        <pc:sldMkLst>
          <pc:docMk/>
          <pc:sldMk cId="1168256643" sldId="6548"/>
        </pc:sldMkLst>
        <pc:spChg chg="mod">
          <ac:chgData name="Curtis Smith" userId="853fbcd611ad0f8e" providerId="LiveId" clId="{BAE2F0A4-EE12-4196-8BE0-F829FD874D07}" dt="2026-05-27T18:12:40.845" v="498" actId="20577"/>
          <ac:spMkLst>
            <pc:docMk/>
            <pc:sldMk cId="1168256643" sldId="6548"/>
            <ac:spMk id="5" creationId="{3313142E-FAB3-4D8C-B819-125A9AF94190}"/>
          </ac:spMkLst>
        </pc:spChg>
      </pc:sldChg>
      <pc:sldChg chg="add del">
        <pc:chgData name="Curtis Smith" userId="853fbcd611ad0f8e" providerId="LiveId" clId="{BAE2F0A4-EE12-4196-8BE0-F829FD874D07}" dt="2026-05-27T18:31:31.129" v="859" actId="47"/>
        <pc:sldMkLst>
          <pc:docMk/>
          <pc:sldMk cId="2362275515" sldId="6551"/>
        </pc:sldMkLst>
      </pc:sldChg>
      <pc:sldChg chg="del">
        <pc:chgData name="Curtis Smith" userId="853fbcd611ad0f8e" providerId="LiveId" clId="{BAE2F0A4-EE12-4196-8BE0-F829FD874D07}" dt="2026-05-27T18:31:33.469" v="860" actId="47"/>
        <pc:sldMkLst>
          <pc:docMk/>
          <pc:sldMk cId="1728774644" sldId="6552"/>
        </pc:sldMkLst>
      </pc:sldChg>
      <pc:sldChg chg="modSp mod">
        <pc:chgData name="Curtis Smith" userId="853fbcd611ad0f8e" providerId="LiveId" clId="{BAE2F0A4-EE12-4196-8BE0-F829FD874D07}" dt="2026-05-27T18:33:25.697" v="923" actId="15"/>
        <pc:sldMkLst>
          <pc:docMk/>
          <pc:sldMk cId="2639832347" sldId="6553"/>
        </pc:sldMkLst>
        <pc:spChg chg="mod">
          <ac:chgData name="Curtis Smith" userId="853fbcd611ad0f8e" providerId="LiveId" clId="{BAE2F0A4-EE12-4196-8BE0-F829FD874D07}" dt="2026-05-27T18:32:13.916" v="870" actId="20577"/>
          <ac:spMkLst>
            <pc:docMk/>
            <pc:sldMk cId="2639832347" sldId="6553"/>
            <ac:spMk id="2" creationId="{7726FB37-706B-4726-926F-05CEAA752B7C}"/>
          </ac:spMkLst>
        </pc:spChg>
        <pc:spChg chg="mod">
          <ac:chgData name="Curtis Smith" userId="853fbcd611ad0f8e" providerId="LiveId" clId="{BAE2F0A4-EE12-4196-8BE0-F829FD874D07}" dt="2026-05-27T18:33:25.697" v="923" actId="15"/>
          <ac:spMkLst>
            <pc:docMk/>
            <pc:sldMk cId="2639832347" sldId="6553"/>
            <ac:spMk id="3" creationId="{8D807A37-2D3B-454C-BAEF-3A6B8ADE601D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7B53D6-CB92-4F52-9B76-9EE49BADDC2A}" type="datetimeFigureOut">
              <a:rPr lang="en-US" smtClean="0"/>
              <a:t>5/27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78E373-9EF1-4D9F-A411-67CAF3245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2254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5B6ECC27-3A3D-47B8-BF9C-1204545CA935}" type="datetimeFigureOut">
              <a:rPr lang="en-US" smtClean="0"/>
              <a:t>5/2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5213" y="1200150"/>
            <a:ext cx="51847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97F4AE0-546C-4B27-8587-A792C4251A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881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719138"/>
            <a:ext cx="5761038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816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Y THE END OF THIS PRESENTATION</a:t>
            </a:r>
          </a:p>
          <a:p>
            <a:endParaRPr lang="en-US" dirty="0"/>
          </a:p>
          <a:p>
            <a:r>
              <a:rPr lang="en-US" dirty="0"/>
              <a:t>YOU WILL UNDERSTAND RISK and RELIABILITY CONCEPTS AND KNOW WHY THEY ARE IMPORT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7F4AE0-546C-4B27-8587-A792C4251A5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440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623" y="266701"/>
            <a:ext cx="8486364" cy="564624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623" y="988979"/>
            <a:ext cx="8486363" cy="396184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300"/>
              </a:spcBef>
              <a:defRPr sz="2000" b="1"/>
            </a:lvl1pPr>
            <a:lvl2pPr>
              <a:spcBef>
                <a:spcPts val="300"/>
              </a:spcBef>
              <a:defRPr sz="2000"/>
            </a:lvl2pPr>
            <a:lvl3pPr>
              <a:spcBef>
                <a:spcPts val="300"/>
              </a:spcBef>
              <a:defRPr sz="1800"/>
            </a:lvl3pPr>
            <a:lvl4pPr>
              <a:spcBef>
                <a:spcPts val="300"/>
              </a:spcBef>
              <a:defRPr sz="1600"/>
            </a:lvl4pPr>
            <a:lvl5pPr>
              <a:spcBef>
                <a:spcPts val="3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C4F848A-23E6-4CD6-B422-0C127D518B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11550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99BEB96-B54F-4BDC-BF31-34A24757E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23" y="266701"/>
            <a:ext cx="8448147" cy="564624"/>
          </a:xfrm>
          <a:prstGeom prst="rect">
            <a:avLst/>
          </a:prstGeom>
        </p:spPr>
        <p:txBody>
          <a:bodyPr vert="horz" lIns="0" tIns="0" rIns="0" bIns="0" anchor="ctr" anchorCtr="0">
            <a:norm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E9E989-FB5F-4AEA-B91C-DF99D0649D3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87404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EB27A748-9B2A-4075-A192-34BAC719C30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06771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BC992D9-484B-47D6-945A-AECC0CC08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53" y="1867711"/>
            <a:ext cx="8849506" cy="11049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anchor="ctr"/>
          <a:lstStyle>
            <a:lvl1pPr algn="ctr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057C4E92-A030-4FBA-A4BD-7ABA0A9B21C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46981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41917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70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3B0CF98C-33F3-4EB1-A764-4F3DD41B057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785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634FBF8B-D01F-4F4D-BB2F-EE108FB5739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404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-No corn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4B0506-2B64-3E49-5FE4-D6A0EBC59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659966"/>
              </p:ext>
            </p:extLst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4B0506-2B64-3E49-5FE4-D6A0EBC59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white surface with hexagons&#10;&#10;Description automatically generated">
            <a:extLst>
              <a:ext uri="{FF2B5EF4-FFF2-40B4-BE49-F238E27FC236}">
                <a16:creationId xmlns:a16="http://schemas.microsoft.com/office/drawing/2014/main" id="{F2BE35FF-0CF9-4951-6E0B-319CEB26E2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3" y="0"/>
            <a:ext cx="9141714" cy="571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3156" y="594238"/>
            <a:ext cx="8027951" cy="584776"/>
          </a:xfrm>
          <a:effectLst/>
        </p:spPr>
        <p:txBody>
          <a:bodyPr vert="horz" anchor="ctr"/>
          <a:lstStyle>
            <a:lvl1pPr>
              <a:defRPr spc="-75" baseline="0">
                <a:gradFill flip="none" rotWithShape="1">
                  <a:gsLst>
                    <a:gs pos="0">
                      <a:schemeClr val="accent4"/>
                    </a:gs>
                    <a:gs pos="50000">
                      <a:srgbClr val="4F3F7D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3156" y="1659310"/>
            <a:ext cx="8027951" cy="3231601"/>
          </a:xfrm>
        </p:spPr>
        <p:txBody>
          <a:bodyPr/>
          <a:lstStyle>
            <a:lvl1pPr marL="172641" indent="-172641">
              <a:buClr>
                <a:srgbClr val="032C5D"/>
              </a:buClr>
              <a:defRPr i="1">
                <a:solidFill>
                  <a:srgbClr val="032C5D"/>
                </a:solidFill>
              </a:defRPr>
            </a:lvl1pPr>
            <a:lvl2pPr marL="513160" indent="-166688">
              <a:buClr>
                <a:srgbClr val="032C5D"/>
              </a:buClr>
              <a:defRPr i="1">
                <a:solidFill>
                  <a:srgbClr val="032C5D"/>
                </a:solidFill>
              </a:defRPr>
            </a:lvl2pPr>
            <a:lvl3pPr marL="858441" indent="-172641">
              <a:buClr>
                <a:srgbClr val="032C5D"/>
              </a:buClr>
              <a:defRPr i="1">
                <a:solidFill>
                  <a:srgbClr val="032C5D"/>
                </a:solidFill>
              </a:defRPr>
            </a:lvl3pPr>
            <a:lvl4pPr marL="1198960" indent="-166688">
              <a:buClr>
                <a:srgbClr val="032C5D"/>
              </a:buClr>
              <a:defRPr i="1">
                <a:solidFill>
                  <a:srgbClr val="032C5D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83005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147638" y="166688"/>
            <a:ext cx="8850312" cy="5405437"/>
            <a:chOff x="0" y="0"/>
            <a:chExt cx="9912" cy="5448"/>
          </a:xfrm>
        </p:grpSpPr>
        <p:sp>
          <p:nvSpPr>
            <p:cNvPr id="5" name="Line 1"/>
            <p:cNvSpPr>
              <a:spLocks noChangeShapeType="1"/>
            </p:cNvSpPr>
            <p:nvPr/>
          </p:nvSpPr>
          <p:spPr bwMode="auto">
            <a:xfrm>
              <a:off x="0" y="4938"/>
              <a:ext cx="9909" cy="0"/>
            </a:xfrm>
            <a:prstGeom prst="line">
              <a:avLst/>
            </a:prstGeom>
            <a:noFill/>
            <a:ln w="25400">
              <a:solidFill>
                <a:srgbClr val="908F95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4A7594"/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endParaRPr>
            </a:p>
          </p:txBody>
        </p:sp>
        <p:sp>
          <p:nvSpPr>
            <p:cNvPr id="6" name="Rectangle 2"/>
            <p:cNvSpPr>
              <a:spLocks/>
            </p:cNvSpPr>
            <p:nvPr/>
          </p:nvSpPr>
          <p:spPr bwMode="auto">
            <a:xfrm>
              <a:off x="0" y="0"/>
              <a:ext cx="9912" cy="5448"/>
            </a:xfrm>
            <a:prstGeom prst="rect">
              <a:avLst/>
            </a:prstGeom>
            <a:noFill/>
            <a:ln w="25400">
              <a:solidFill>
                <a:srgbClr val="908F95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4A7594"/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endParaRPr>
            </a:p>
          </p:txBody>
        </p:sp>
      </p:grpSp>
      <p:pic>
        <p:nvPicPr>
          <p:cNvPr id="12" name="Picture 6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632" y="5126397"/>
            <a:ext cx="919162" cy="412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90E7BA53-E053-403D-B61C-5FC94ED6A60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  <a:prstGeom prst="rect">
            <a:avLst/>
          </a:prstGeom>
          <a:ln/>
        </p:spPr>
        <p:txBody>
          <a:bodyPr/>
          <a:lstStyle>
            <a:lvl1pPr algn="r"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DDE0136-2DB2-460A-9C4D-105B57F18FBB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113494" y="5350890"/>
            <a:ext cx="950063" cy="161040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marL="0" algn="r" defTabSz="713232" rtl="0" eaLnBrk="1" latinLnBrk="0" hangingPunct="1">
              <a:defRPr sz="1400" b="1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t>curtis@mit.ed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4D6016-ED34-4EF7-8824-D59F9B28782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biLevel thresh="75000"/>
          </a:blip>
          <a:stretch>
            <a:fillRect/>
          </a:stretch>
        </p:blipFill>
        <p:spPr>
          <a:xfrm>
            <a:off x="5999870" y="5146370"/>
            <a:ext cx="1656929" cy="34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7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7" r:id="rId3"/>
    <p:sldLayoutId id="2147483725" r:id="rId4"/>
    <p:sldLayoutId id="2147483726" r:id="rId5"/>
    <p:sldLayoutId id="2147483727" r:id="rId6"/>
    <p:sldLayoutId id="2147483728" r:id="rId7"/>
  </p:sldLayoutIdLst>
  <p:transition/>
  <p:hf hdr="0" ftr="0" dt="0"/>
  <p:txStyles>
    <p:titleStyle>
      <a:lvl1pPr marL="214313" indent="-2143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+mj-lt"/>
          <a:ea typeface="+mj-ea"/>
          <a:cs typeface="+mj-cs"/>
          <a:sym typeface="Helvetica Neue Light" charset="0"/>
        </a:defRPr>
      </a:lvl1pPr>
      <a:lvl2pPr marL="214313" indent="-2143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2pPr>
      <a:lvl3pPr marL="214313" indent="-2143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3pPr>
      <a:lvl4pPr marL="214313" indent="-2143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4pPr>
      <a:lvl5pPr marL="214313" indent="-2143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5pPr>
      <a:lvl6pPr marL="472381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6pPr>
      <a:lvl7pPr marL="729556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7pPr>
      <a:lvl8pPr marL="986731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8pPr>
      <a:lvl9pPr marL="1243906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Helvetica Neue Light" charset="0"/>
          <a:ea typeface="ヒラギノ角ゴ ProN W3" charset="0"/>
          <a:cs typeface="ヒラギノ角ゴ ProN W3" charset="0"/>
          <a:sym typeface="Helvetica Neue Light" charset="0"/>
        </a:defRPr>
      </a:lvl9pPr>
    </p:titleStyle>
    <p:bodyStyle>
      <a:lvl1pPr marL="242888" indent="-242888" algn="l" rtl="0" eaLnBrk="0" fontAlgn="base" hangingPunct="0">
        <a:spcBef>
          <a:spcPts val="2525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1pPr>
      <a:lvl2pPr marL="463550" indent="-242888" algn="l" rtl="0" eaLnBrk="0" fontAlgn="base" hangingPunct="0">
        <a:spcBef>
          <a:spcPts val="2525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2pPr>
      <a:lvl3pPr marL="714375" indent="-242888" algn="l" rtl="0" eaLnBrk="0" fontAlgn="base" hangingPunct="0">
        <a:spcBef>
          <a:spcPts val="2525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3pPr>
      <a:lvl4pPr marL="963613" indent="-242888" algn="l" rtl="0" eaLnBrk="0" fontAlgn="base" hangingPunct="0">
        <a:spcBef>
          <a:spcPts val="2525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4pPr>
      <a:lvl5pPr marL="1214438" indent="-242888" algn="l" rtl="0" eaLnBrk="0" fontAlgn="base" hangingPunct="0">
        <a:spcBef>
          <a:spcPts val="2525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5pPr>
      <a:lvl6pPr marL="1471613" indent="-242888" algn="l" rtl="0" fontAlgn="base">
        <a:spcBef>
          <a:spcPts val="2531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6pPr>
      <a:lvl7pPr marL="1728788" indent="-242888" algn="l" rtl="0" fontAlgn="base">
        <a:spcBef>
          <a:spcPts val="2531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7pPr>
      <a:lvl8pPr marL="1985963" indent="-242888" algn="l" rtl="0" fontAlgn="base">
        <a:spcBef>
          <a:spcPts val="2531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8pPr>
      <a:lvl9pPr marL="2243138" indent="-242888" algn="l" rtl="0" fontAlgn="base">
        <a:spcBef>
          <a:spcPts val="2531"/>
        </a:spcBef>
        <a:spcAft>
          <a:spcPct val="0"/>
        </a:spcAft>
        <a:buSzPct val="77000"/>
        <a:buChar char="•"/>
        <a:defRPr sz="1900">
          <a:solidFill>
            <a:srgbClr val="646461"/>
          </a:solidFill>
          <a:latin typeface="+mn-lt"/>
          <a:ea typeface="+mn-ea"/>
          <a:cs typeface="+mn-cs"/>
          <a:sym typeface="Helvetica Neue" charset="0"/>
        </a:defRPr>
      </a:lvl9pPr>
    </p:bodyStyle>
    <p:otherStyle>
      <a:defPPr>
        <a:defRPr lang="en-US"/>
      </a:defPPr>
      <a:lvl1pPr marL="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daholab/EMRALD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9033B47-AA65-416E-9617-03ADD0FABD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9144000" cy="5715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155203" y="3434235"/>
            <a:ext cx="8833104" cy="2137424"/>
          </a:xfrm>
          <a:prstGeom prst="rect">
            <a:avLst/>
          </a:prstGeom>
          <a:solidFill>
            <a:srgbClr val="FFFFFF">
              <a:alpha val="75000"/>
            </a:srgb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4A7594"/>
              </a:solidFill>
              <a:latin typeface="Helvetica Neue Bold Condensed" charset="0"/>
              <a:ea typeface="ヒラギノ角ゴ ProN W6" charset="0"/>
              <a:sym typeface="Helvetica Neue Bold Condense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155202" y="3531957"/>
            <a:ext cx="8830609" cy="2017568"/>
          </a:xfrm>
          <a:prstGeom prst="rect">
            <a:avLst/>
          </a:prstGeom>
        </p:spPr>
        <p:txBody>
          <a:bodyPr/>
          <a:lstStyle/>
          <a:p>
            <a:pPr marL="0" indent="0" algn="ctr"/>
            <a:r>
              <a:rPr lang="en-US" sz="2800" b="1" spc="110" dirty="0">
                <a:solidFill>
                  <a:srgbClr val="C00000"/>
                </a:solidFill>
                <a:latin typeface="+mn-lt"/>
              </a:rPr>
              <a:t>Obtaining System- and Component-Level Insights from Importance Measures Using an Efficient Data-Driven Simulation Approach</a:t>
            </a:r>
            <a:br>
              <a:rPr lang="en-US" sz="2800" b="1" spc="11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en-US" sz="2800" b="1" spc="11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Prof. Curtis Lee Smith</a:t>
            </a:r>
            <a:br>
              <a:rPr lang="en-US" sz="2800" b="1" spc="110" dirty="0">
                <a:solidFill>
                  <a:schemeClr val="bg2">
                    <a:lumMod val="50000"/>
                  </a:schemeClr>
                </a:solidFill>
                <a:latin typeface="+mn-lt"/>
              </a:rPr>
            </a:br>
            <a:r>
              <a:rPr lang="en-US" sz="2800" b="1" spc="11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Prof. Emanuele </a:t>
            </a:r>
            <a:r>
              <a:rPr lang="en-US" sz="2800" b="1" spc="11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Borgonovo</a:t>
            </a:r>
            <a:endParaRPr lang="en-US" sz="2800" b="1" spc="11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D0E029-1E35-48C9-B46E-A61A3C2C1BB7}"/>
              </a:ext>
            </a:extLst>
          </p:cNvPr>
          <p:cNvSpPr/>
          <p:nvPr/>
        </p:nvSpPr>
        <p:spPr bwMode="auto">
          <a:xfrm>
            <a:off x="152708" y="111462"/>
            <a:ext cx="8833104" cy="852217"/>
          </a:xfrm>
          <a:prstGeom prst="rect">
            <a:avLst/>
          </a:prstGeom>
          <a:solidFill>
            <a:srgbClr val="FFFFFF">
              <a:alpha val="75000"/>
            </a:srgb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4A7594"/>
              </a:solidFill>
              <a:latin typeface="Helvetica Neue Bold Condensed" charset="0"/>
              <a:ea typeface="ヒラギノ角ゴ ProN W6" charset="0"/>
              <a:sym typeface="Helvetica Neue Bold Condensed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CD4D48-74AE-4CFD-A431-2539498D5A8F}"/>
              </a:ext>
            </a:extLst>
          </p:cNvPr>
          <p:cNvSpPr txBox="1"/>
          <p:nvPr/>
        </p:nvSpPr>
        <p:spPr>
          <a:xfrm>
            <a:off x="264189" y="231455"/>
            <a:ext cx="46678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effectLst/>
                <a:ea typeface="Times New Roman" panose="02020603050405020304" pitchFamily="18" charset="0"/>
              </a:rPr>
              <a:t>Massachusetts Institute of Technology</a:t>
            </a:r>
          </a:p>
          <a:p>
            <a:r>
              <a:rPr lang="en-US" sz="1600" b="1" dirty="0">
                <a:solidFill>
                  <a:schemeClr val="bg2">
                    <a:lumMod val="50000"/>
                  </a:schemeClr>
                </a:solidFill>
              </a:rPr>
              <a:t>Bocconi University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DD9DA0-1F1E-423B-B171-47E812E318CD}"/>
              </a:ext>
            </a:extLst>
          </p:cNvPr>
          <p:cNvSpPr txBox="1"/>
          <p:nvPr/>
        </p:nvSpPr>
        <p:spPr>
          <a:xfrm>
            <a:off x="7631974" y="5535037"/>
            <a:ext cx="16696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Image Created by Gemini</a:t>
            </a:r>
          </a:p>
        </p:txBody>
      </p:sp>
    </p:spTree>
    <p:extLst>
      <p:ext uri="{BB962C8B-B14F-4D97-AF65-F5344CB8AC3E}">
        <p14:creationId xmlns:p14="http://schemas.microsoft.com/office/powerpoint/2010/main" val="172368536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24B685-AFB2-4378-B833-13CF5E54B3B8}"/>
              </a:ext>
            </a:extLst>
          </p:cNvPr>
          <p:cNvSpPr/>
          <p:nvPr/>
        </p:nvSpPr>
        <p:spPr bwMode="auto">
          <a:xfrm>
            <a:off x="0" y="0"/>
            <a:ext cx="9144000" cy="5052060"/>
          </a:xfrm>
          <a:prstGeom prst="rect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54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Approach</a:t>
            </a:r>
            <a:endParaRPr kumimoji="0" lang="en-US" sz="5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16093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7B4BBD-0E7D-46DD-9B29-3AB2DA655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D55F64-15EF-4754-85F0-F423ACA33E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0536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A2AF78-8016-4618-9E57-EE274ADD22E4}"/>
              </a:ext>
            </a:extLst>
          </p:cNvPr>
          <p:cNvSpPr txBox="1"/>
          <p:nvPr/>
        </p:nvSpPr>
        <p:spPr>
          <a:xfrm>
            <a:off x="851579" y="0"/>
            <a:ext cx="81458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400" b="1" dirty="0">
                <a:solidFill>
                  <a:srgbClr val="FFFFFF"/>
                </a:solidFill>
              </a:rPr>
              <a:t>Event Model Risk Assessment using Linked Diagrams EMRALD (</a:t>
            </a:r>
            <a:r>
              <a:rPr lang="en-US" sz="2400" b="1" dirty="0">
                <a:solidFill>
                  <a:srgbClr val="FFFFF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idaholab/EMRALD</a:t>
            </a:r>
            <a:r>
              <a:rPr lang="en-US" sz="2400" b="1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917DEB-2E06-4F55-8272-203F029B752C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</p:spTree>
    <p:extLst>
      <p:ext uri="{BB962C8B-B14F-4D97-AF65-F5344CB8AC3E}">
        <p14:creationId xmlns:p14="http://schemas.microsoft.com/office/powerpoint/2010/main" val="157675653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A58F2A-CD7F-4B03-AE66-093506A1A3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A90CF4-8023-4B7E-B565-89CD7ED5DF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9144000" cy="50606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ADF121-BBB4-4883-B747-635B51F20891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3D2712-70E3-4DFA-A710-C1E9FBD426AF}"/>
              </a:ext>
            </a:extLst>
          </p:cNvPr>
          <p:cNvSpPr txBox="1"/>
          <p:nvPr/>
        </p:nvSpPr>
        <p:spPr>
          <a:xfrm>
            <a:off x="111034" y="97860"/>
            <a:ext cx="5509260" cy="4893647"/>
          </a:xfrm>
          <a:prstGeom prst="rect">
            <a:avLst/>
          </a:prstGeom>
          <a:solidFill>
            <a:schemeClr val="tx1">
              <a:lumMod val="50000"/>
              <a:alpha val="67000"/>
            </a:schemeClr>
          </a:solidFill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Event Simulation</a:t>
            </a:r>
          </a:p>
          <a:p>
            <a:endParaRPr lang="en-US" sz="2400" b="1" dirty="0">
              <a:solidFill>
                <a:srgbClr val="FFFFFF"/>
              </a:solidFill>
            </a:endParaRPr>
          </a:p>
          <a:p>
            <a:r>
              <a:rPr lang="en-US" sz="2400" b="1" dirty="0">
                <a:solidFill>
                  <a:srgbClr val="FFFFFF"/>
                </a:solidFill>
              </a:rPr>
              <a:t>Time interval [0,mission time]</a:t>
            </a:r>
          </a:p>
          <a:p>
            <a:endParaRPr lang="en-US" sz="2400" b="1" dirty="0">
              <a:solidFill>
                <a:srgbClr val="FFFFFF"/>
              </a:solidFill>
            </a:endParaRPr>
          </a:p>
          <a:p>
            <a:r>
              <a:rPr lang="en-US" sz="2400" b="1" dirty="0">
                <a:solidFill>
                  <a:srgbClr val="FFFFFF"/>
                </a:solidFill>
              </a:rPr>
              <a:t>Simulates system and component states as function of time</a:t>
            </a:r>
          </a:p>
          <a:p>
            <a:endParaRPr lang="en-US" sz="2400" b="1" dirty="0">
              <a:solidFill>
                <a:srgbClr val="FFFFFF"/>
              </a:solidFill>
            </a:endParaRPr>
          </a:p>
          <a:p>
            <a:r>
              <a:rPr lang="en-US" sz="2400" b="1" dirty="0">
                <a:solidFill>
                  <a:srgbClr val="FFFFFF"/>
                </a:solidFill>
              </a:rPr>
              <a:t>Allows mixing physical and logical considerations</a:t>
            </a:r>
          </a:p>
          <a:p>
            <a:endParaRPr lang="en-US" sz="2400" b="1" dirty="0">
              <a:solidFill>
                <a:srgbClr val="FFFFFF"/>
              </a:solidFill>
            </a:endParaRPr>
          </a:p>
          <a:p>
            <a:r>
              <a:rPr lang="en-US" sz="2400" b="1" dirty="0">
                <a:solidFill>
                  <a:srgbClr val="FFFFFF"/>
                </a:solidFill>
              </a:rPr>
              <a:t>Potentially no restrictions on # of components and systems and the “type” of failure</a:t>
            </a:r>
          </a:p>
        </p:txBody>
      </p:sp>
    </p:spTree>
    <p:extLst>
      <p:ext uri="{BB962C8B-B14F-4D97-AF65-F5344CB8AC3E}">
        <p14:creationId xmlns:p14="http://schemas.microsoft.com/office/powerpoint/2010/main" val="200267461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24B685-AFB2-4378-B833-13CF5E54B3B8}"/>
              </a:ext>
            </a:extLst>
          </p:cNvPr>
          <p:cNvSpPr/>
          <p:nvPr/>
        </p:nvSpPr>
        <p:spPr bwMode="auto">
          <a:xfrm>
            <a:off x="0" y="0"/>
            <a:ext cx="9144000" cy="5052060"/>
          </a:xfrm>
          <a:prstGeom prst="rect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600" b="1" dirty="0">
                <a:solidFill>
                  <a:srgbClr val="FFC000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EMRALD</a:t>
            </a:r>
            <a:endParaRPr lang="en-US" sz="3600" b="1" dirty="0">
              <a:solidFill>
                <a:srgbClr val="FFFFFF"/>
              </a:solidFill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3600" b="1" dirty="0">
              <a:solidFill>
                <a:srgbClr val="FFFFFF"/>
              </a:solidFill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  <a:p>
            <a:pPr marL="571500" marR="0" indent="-5715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36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A modeling approach using states</a:t>
            </a:r>
          </a:p>
          <a:p>
            <a:pPr marL="571500" marR="0" indent="-5715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36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A browser- based editor</a:t>
            </a:r>
          </a:p>
          <a:p>
            <a:pPr marL="571500" marR="0" indent="-5715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36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Simulation of detailed time-based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6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     systems &amp; components evolution</a:t>
            </a:r>
          </a:p>
          <a:p>
            <a:pPr marL="571500" marR="0" indent="-5715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36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Calculation of state probabilities</a:t>
            </a:r>
          </a:p>
        </p:txBody>
      </p:sp>
    </p:spTree>
    <p:extLst>
      <p:ext uri="{BB962C8B-B14F-4D97-AF65-F5344CB8AC3E}">
        <p14:creationId xmlns:p14="http://schemas.microsoft.com/office/powerpoint/2010/main" val="196092633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BED3F1-2276-4BF6-B76E-49E4133EC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3E5FB5-06A0-497B-A808-4943A13EB6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07" b="23868"/>
          <a:stretch/>
        </p:blipFill>
        <p:spPr>
          <a:xfrm>
            <a:off x="0" y="2466754"/>
            <a:ext cx="9144000" cy="260143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13142E-FAB3-4D8C-B819-125A9AF94190}"/>
              </a:ext>
            </a:extLst>
          </p:cNvPr>
          <p:cNvSpPr/>
          <p:nvPr/>
        </p:nvSpPr>
        <p:spPr bwMode="auto">
          <a:xfrm>
            <a:off x="0" y="0"/>
            <a:ext cx="9144000" cy="2466754"/>
          </a:xfrm>
          <a:prstGeom prst="rect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32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Example: Component restoration times</a:t>
            </a:r>
          </a:p>
          <a:p>
            <a:pPr marL="1042416" lvl="1" indent="-68580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When component fails, the time-to-restore is represented</a:t>
            </a:r>
          </a:p>
          <a:p>
            <a:pPr marL="1042416" lvl="1" indent="-68580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32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Key components cause the facility to lose power production</a:t>
            </a:r>
          </a:p>
        </p:txBody>
      </p:sp>
    </p:spTree>
    <p:extLst>
      <p:ext uri="{BB962C8B-B14F-4D97-AF65-F5344CB8AC3E}">
        <p14:creationId xmlns:p14="http://schemas.microsoft.com/office/powerpoint/2010/main" val="116825664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241D7DB-9420-462E-A4D7-DFA318BA0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RALD diagra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0DABF1-35DA-41BF-B121-6B9E64284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56AB50-755A-4CA3-BA35-3D9EE55838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00" y="757445"/>
            <a:ext cx="4394200" cy="33740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B897BF-0F6E-4089-80D3-CED0F94D1F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0" y="2751175"/>
            <a:ext cx="4521200" cy="2120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7C6E029-761E-4AB7-93F7-BF25F699FFB2}"/>
              </a:ext>
            </a:extLst>
          </p:cNvPr>
          <p:cNvSpPr txBox="1"/>
          <p:nvPr/>
        </p:nvSpPr>
        <p:spPr>
          <a:xfrm>
            <a:off x="5506393" y="2444449"/>
            <a:ext cx="27142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Example Component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0C8A28-F23B-4FBB-B80F-66D6724156F6}"/>
              </a:ext>
            </a:extLst>
          </p:cNvPr>
          <p:cNvSpPr txBox="1"/>
          <p:nvPr/>
        </p:nvSpPr>
        <p:spPr>
          <a:xfrm>
            <a:off x="4445000" y="842925"/>
            <a:ext cx="23891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Trigger the Compon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32C47C-D235-401F-B52D-3705E703C10C}"/>
              </a:ext>
            </a:extLst>
          </p:cNvPr>
          <p:cNvSpPr txBox="1"/>
          <p:nvPr/>
        </p:nvSpPr>
        <p:spPr>
          <a:xfrm>
            <a:off x="1326996" y="4193346"/>
            <a:ext cx="22268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One year mission time</a:t>
            </a:r>
          </a:p>
        </p:txBody>
      </p:sp>
    </p:spTree>
    <p:extLst>
      <p:ext uri="{BB962C8B-B14F-4D97-AF65-F5344CB8AC3E}">
        <p14:creationId xmlns:p14="http://schemas.microsoft.com/office/powerpoint/2010/main" val="135977059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24B685-AFB2-4378-B833-13CF5E54B3B8}"/>
              </a:ext>
            </a:extLst>
          </p:cNvPr>
          <p:cNvSpPr/>
          <p:nvPr/>
        </p:nvSpPr>
        <p:spPr bwMode="auto">
          <a:xfrm>
            <a:off x="0" y="0"/>
            <a:ext cx="9144000" cy="5052060"/>
          </a:xfrm>
          <a:prstGeom prst="rect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54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Simulating reliability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5400" b="1" dirty="0">
              <a:solidFill>
                <a:srgbClr val="FFFFFF"/>
              </a:solidFill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AA6A6C-2B2F-4F80-91EE-917227D592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149" y="1829262"/>
            <a:ext cx="7435702" cy="289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36130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67DEF7-ECE2-40F2-974D-53C13489B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z="1200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1200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510CD2-3336-463A-B322-8B77CC4447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9144000" cy="50720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BD6177-DCA3-4D9B-B27D-4D50A6AA9A70}"/>
              </a:ext>
            </a:extLst>
          </p:cNvPr>
          <p:cNvSpPr txBox="1"/>
          <p:nvPr/>
        </p:nvSpPr>
        <p:spPr>
          <a:xfrm>
            <a:off x="8059783" y="4881249"/>
            <a:ext cx="96338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700" dirty="0">
                <a:solidFill>
                  <a:srgbClr val="FFFFFF"/>
                </a:solidFill>
              </a:rPr>
              <a:t>Gemini 3</a:t>
            </a:r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93F770C3-BBAF-41CA-B692-B090BE17C106}"/>
              </a:ext>
            </a:extLst>
          </p:cNvPr>
          <p:cNvSpPr/>
          <p:nvPr/>
        </p:nvSpPr>
        <p:spPr bwMode="auto">
          <a:xfrm>
            <a:off x="368724" y="460850"/>
            <a:ext cx="6211689" cy="4150364"/>
          </a:xfrm>
          <a:prstGeom prst="roundRect">
            <a:avLst/>
          </a:prstGeom>
          <a:solidFill>
            <a:srgbClr val="006600">
              <a:alpha val="50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Monte Carlo Simulations are expensive, N replicates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Computing </a:t>
            </a:r>
            <a:r>
              <a:rPr lang="en-US" sz="2400" b="1" dirty="0" err="1">
                <a:solidFill>
                  <a:srgbClr val="FFFFFF"/>
                </a:solidFill>
              </a:rPr>
              <a:t>Ims</a:t>
            </a:r>
            <a:r>
              <a:rPr lang="en-US" sz="2400" b="1" dirty="0">
                <a:solidFill>
                  <a:srgbClr val="FFFFFF"/>
                </a:solidFill>
              </a:rPr>
              <a:t> based on conditioning state of each component yields Cost = s*C*N  (s # states, C # components)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2 states, 10 components, 500,000 replicates yields 10 million simulations</a:t>
            </a:r>
          </a:p>
        </p:txBody>
      </p:sp>
    </p:spTree>
    <p:extLst>
      <p:ext uri="{BB962C8B-B14F-4D97-AF65-F5344CB8AC3E}">
        <p14:creationId xmlns:p14="http://schemas.microsoft.com/office/powerpoint/2010/main" val="14579131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BEEC3B-0EA6-480B-B109-237CC158263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1026" name="Picture 2" descr="http://precisionmedicine.ucsf.edu/sites/precisionmedicine.ucsf.edu/files/fields/image/pillar/Computational-Health-head.jp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07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9973AC6-F246-4727-97BF-8EBA42D76FAA}"/>
              </a:ext>
            </a:extLst>
          </p:cNvPr>
          <p:cNvSpPr txBox="1"/>
          <p:nvPr/>
        </p:nvSpPr>
        <p:spPr>
          <a:xfrm>
            <a:off x="647680" y="447747"/>
            <a:ext cx="774413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i="0" u="none" strike="noStrike" dirty="0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Our Goal</a:t>
            </a:r>
          </a:p>
          <a:p>
            <a:pPr algn="ctr"/>
            <a:endParaRPr lang="en-US" sz="2800" b="1" dirty="0">
              <a:solidFill>
                <a:srgbClr val="FFC000"/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2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Calculate </a:t>
            </a:r>
            <a:r>
              <a:rPr lang="en-US" sz="2800" b="1" i="0" dirty="0" err="1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Ims</a:t>
            </a:r>
            <a:r>
              <a:rPr lang="en-US" sz="2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 from the simulation without adding additional cost</a:t>
            </a:r>
          </a:p>
          <a:p>
            <a:pPr algn="ctr"/>
            <a:endParaRPr lang="en-US" sz="2800" b="1" i="0" dirty="0">
              <a:solidFill>
                <a:srgbClr val="FFC000"/>
              </a:solidFill>
              <a:effectLst/>
              <a:latin typeface="Arial" panose="020B0604020202020204" pitchFamily="34" charset="0"/>
            </a:endParaRPr>
          </a:p>
          <a:p>
            <a:pPr algn="ctr"/>
            <a:r>
              <a:rPr lang="en-US" sz="2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«Given already calculated data» approach</a:t>
            </a:r>
          </a:p>
          <a:p>
            <a:pPr algn="ctr"/>
            <a:endParaRPr lang="en-US" sz="2800" b="1" i="0" dirty="0">
              <a:solidFill>
                <a:srgbClr val="FFC000"/>
              </a:solidFill>
              <a:effectLst/>
              <a:latin typeface="Arial" panose="020B0604020202020204" pitchFamily="34" charset="0"/>
            </a:endParaRPr>
          </a:p>
          <a:p>
            <a:pPr algn="ctr"/>
            <a:r>
              <a:rPr lang="en-US" sz="2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</a:rPr>
              <a:t>Avoid having to run calculations specific to IM calculations in the simulation engine</a:t>
            </a:r>
          </a:p>
          <a:p>
            <a:pPr algn="ctr"/>
            <a:endParaRPr lang="en-US" sz="2800" b="1" i="0" dirty="0">
              <a:solidFill>
                <a:srgbClr val="FFC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66140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BF5FF52-69FD-42C7-81D1-A10CC6B65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9144000" cy="50966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A75AC9-77AC-4DCC-B437-8CEC17723AE1}"/>
              </a:ext>
            </a:extLst>
          </p:cNvPr>
          <p:cNvSpPr txBox="1"/>
          <p:nvPr/>
        </p:nvSpPr>
        <p:spPr>
          <a:xfrm>
            <a:off x="145676" y="666152"/>
            <a:ext cx="744384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FFFFFF"/>
                </a:solidFill>
              </a:rPr>
              <a:t>Example: Birnbaum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Estimate 𝐏[</a:t>
            </a:r>
            <a:r>
              <a:rPr lang="en-US" sz="1800" b="1" dirty="0">
                <a:solidFill>
                  <a:srgbClr val="FFFFFF"/>
                </a:solidFill>
                <a:ea typeface="Cambria Math" panose="02040503050406030204" pitchFamily="18" charset="0"/>
              </a:rPr>
              <a:t>θ</a:t>
            </a:r>
            <a:r>
              <a:rPr lang="en-US" sz="1800" b="1" dirty="0">
                <a:solidFill>
                  <a:srgbClr val="FFFFFF"/>
                </a:solidFill>
              </a:rPr>
              <a:t>(𝟏)] and 𝐏[</a:t>
            </a:r>
            <a:r>
              <a:rPr lang="en-US" sz="1800" b="1" dirty="0">
                <a:solidFill>
                  <a:srgbClr val="FFFFFF"/>
                </a:solidFill>
                <a:ea typeface="Cambria Math" panose="02040503050406030204" pitchFamily="18" charset="0"/>
              </a:rPr>
              <a:t>θ</a:t>
            </a:r>
            <a:r>
              <a:rPr lang="en-US" sz="1800" b="1" dirty="0">
                <a:solidFill>
                  <a:srgbClr val="FFFFFF"/>
                </a:solidFill>
              </a:rPr>
              <a:t>(0)] from simulation results</a:t>
            </a:r>
          </a:p>
          <a:p>
            <a:endParaRPr lang="en-US" sz="1800" b="1" dirty="0">
              <a:solidFill>
                <a:srgbClr val="FFFFFF"/>
              </a:solidFill>
            </a:endParaRPr>
          </a:p>
          <a:p>
            <a:r>
              <a:rPr lang="en-US" sz="1800" b="1" dirty="0">
                <a:solidFill>
                  <a:srgbClr val="FFFFFF"/>
                </a:solidFill>
              </a:rPr>
              <a:t>      𝒏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dirty="0">
                <a:solidFill>
                  <a:srgbClr val="FFFFFF"/>
                </a:solidFill>
              </a:rPr>
              <a:t>  	=  #-times component </a:t>
            </a:r>
            <a:r>
              <a:rPr lang="en-US" sz="1800" b="1" dirty="0" err="1">
                <a:solidFill>
                  <a:srgbClr val="FFFFFF"/>
                </a:solidFill>
              </a:rPr>
              <a:t>i</a:t>
            </a:r>
            <a:r>
              <a:rPr lang="en-US" sz="1800" b="1" dirty="0">
                <a:solidFill>
                  <a:srgbClr val="FFFFFF"/>
                </a:solidFill>
              </a:rPr>
              <a:t> fails in all simulations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      𝒇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baseline="30000" dirty="0">
                <a:solidFill>
                  <a:srgbClr val="FFFFFF"/>
                </a:solidFill>
              </a:rPr>
              <a:t>𝟏</a:t>
            </a:r>
            <a:r>
              <a:rPr lang="en-US" sz="1800" b="1" dirty="0">
                <a:solidFill>
                  <a:srgbClr val="FFFFFF"/>
                </a:solidFill>
              </a:rPr>
              <a:t> =  number of times in which </a:t>
            </a:r>
            <a:r>
              <a:rPr lang="en-US" sz="1800" b="1" dirty="0">
                <a:solidFill>
                  <a:srgbClr val="FF0000"/>
                </a:solidFill>
              </a:rPr>
              <a:t>system</a:t>
            </a:r>
            <a:r>
              <a:rPr lang="en-US" sz="1800" b="1" dirty="0">
                <a:solidFill>
                  <a:srgbClr val="FFFFFF"/>
                </a:solidFill>
              </a:rPr>
              <a:t> </a:t>
            </a:r>
            <a:r>
              <a:rPr lang="en-US" sz="1800" b="1" dirty="0">
                <a:solidFill>
                  <a:srgbClr val="FF0000"/>
                </a:solidFill>
              </a:rPr>
              <a:t>fails</a:t>
            </a:r>
            <a:r>
              <a:rPr lang="en-US" sz="1800" b="1" dirty="0">
                <a:solidFill>
                  <a:srgbClr val="FFFFFF"/>
                </a:solidFill>
              </a:rPr>
              <a:t> in this set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  𝑵−𝒏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dirty="0">
                <a:solidFill>
                  <a:srgbClr val="FFFFFF"/>
                </a:solidFill>
              </a:rPr>
              <a:t>  =  #-times component </a:t>
            </a:r>
            <a:r>
              <a:rPr lang="en-US" sz="1800" b="1" dirty="0" err="1">
                <a:solidFill>
                  <a:srgbClr val="FFFFFF"/>
                </a:solidFill>
              </a:rPr>
              <a:t>i</a:t>
            </a:r>
            <a:r>
              <a:rPr lang="en-US" sz="1800" b="1" dirty="0">
                <a:solidFill>
                  <a:srgbClr val="FFFFFF"/>
                </a:solidFill>
              </a:rPr>
              <a:t> does not fail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       𝑵 	= total number of simulations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      𝒇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baseline="30000" dirty="0">
                <a:solidFill>
                  <a:srgbClr val="FFFFFF"/>
                </a:solidFill>
              </a:rPr>
              <a:t>𝟎</a:t>
            </a:r>
            <a:r>
              <a:rPr lang="en-US" sz="1800" b="1" dirty="0">
                <a:solidFill>
                  <a:srgbClr val="FFFFFF"/>
                </a:solidFill>
              </a:rPr>
              <a:t> = number of times in which </a:t>
            </a:r>
            <a:r>
              <a:rPr lang="en-US" sz="1800" b="1" dirty="0">
                <a:solidFill>
                  <a:srgbClr val="92D050"/>
                </a:solidFill>
              </a:rPr>
              <a:t>system</a:t>
            </a:r>
            <a:r>
              <a:rPr lang="en-US" sz="1800" b="1" dirty="0">
                <a:solidFill>
                  <a:srgbClr val="FFFFFF"/>
                </a:solidFill>
              </a:rPr>
              <a:t> </a:t>
            </a:r>
            <a:r>
              <a:rPr lang="en-US" sz="1800" b="1" dirty="0">
                <a:solidFill>
                  <a:srgbClr val="92D050"/>
                </a:solidFill>
              </a:rPr>
              <a:t>works</a:t>
            </a:r>
            <a:r>
              <a:rPr lang="en-US" sz="1800" b="1" dirty="0">
                <a:solidFill>
                  <a:srgbClr val="FFFFFF"/>
                </a:solidFill>
              </a:rPr>
              <a:t> in this set</a:t>
            </a:r>
          </a:p>
          <a:p>
            <a:endParaRPr lang="en-US" sz="1800" b="1" dirty="0">
              <a:solidFill>
                <a:srgbClr val="FFFFFF"/>
              </a:solidFill>
            </a:endParaRPr>
          </a:p>
          <a:p>
            <a:r>
              <a:rPr lang="en-US" sz="1800" b="1" dirty="0">
                <a:solidFill>
                  <a:srgbClr val="FFFFFF"/>
                </a:solidFill>
              </a:rPr>
              <a:t>An estimate of the Birnbaum importance is  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      𝑩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dirty="0">
                <a:solidFill>
                  <a:srgbClr val="FFFFFF"/>
                </a:solidFill>
              </a:rPr>
              <a:t> 	= 𝒇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baseline="30000" dirty="0">
                <a:solidFill>
                  <a:srgbClr val="FFFFFF"/>
                </a:solidFill>
              </a:rPr>
              <a:t>𝟏</a:t>
            </a:r>
            <a:r>
              <a:rPr lang="en-US" sz="1800" b="1" dirty="0">
                <a:solidFill>
                  <a:srgbClr val="FFFFFF"/>
                </a:solidFill>
              </a:rPr>
              <a:t> / 𝒏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dirty="0">
                <a:solidFill>
                  <a:srgbClr val="FFFFFF"/>
                </a:solidFill>
              </a:rPr>
              <a:t>   −  𝒇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baseline="30000" dirty="0">
                <a:solidFill>
                  <a:srgbClr val="FFFFFF"/>
                </a:solidFill>
              </a:rPr>
              <a:t>𝟎 </a:t>
            </a:r>
            <a:r>
              <a:rPr lang="en-US" sz="1800" b="1" dirty="0">
                <a:solidFill>
                  <a:srgbClr val="FFFFFF"/>
                </a:solidFill>
              </a:rPr>
              <a:t>/ (𝑵−𝒏</a:t>
            </a:r>
            <a:r>
              <a:rPr lang="en-US" sz="1800" b="1" baseline="-25000" dirty="0">
                <a:solidFill>
                  <a:srgbClr val="FFFFFF"/>
                </a:solidFill>
              </a:rPr>
              <a:t>𝒊</a:t>
            </a:r>
            <a:r>
              <a:rPr lang="en-US" sz="1800" b="1" dirty="0">
                <a:solidFill>
                  <a:srgbClr val="FFFFFF"/>
                </a:solidFill>
              </a:rPr>
              <a:t>)</a:t>
            </a:r>
          </a:p>
          <a:p>
            <a:endParaRPr lang="en-US" sz="1800" b="1" dirty="0">
              <a:solidFill>
                <a:srgbClr val="FFFFFF"/>
              </a:solidFill>
            </a:endParaRPr>
          </a:p>
          <a:p>
            <a:r>
              <a:rPr lang="en-US" sz="1800" b="1" dirty="0">
                <a:solidFill>
                  <a:srgbClr val="FFFFFF"/>
                </a:solidFill>
              </a:rPr>
              <a:t>This can be extracted directly from the system simulation</a:t>
            </a:r>
          </a:p>
          <a:p>
            <a:r>
              <a:rPr lang="en-US" sz="1800" b="1" dirty="0">
                <a:solidFill>
                  <a:srgbClr val="FFFFFF"/>
                </a:solidFill>
              </a:rPr>
              <a:t>Law of large numbers ensures asymptotic consisten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7014B9-4233-465A-A780-BB726560FE9C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</p:spTree>
    <p:extLst>
      <p:ext uri="{BB962C8B-B14F-4D97-AF65-F5344CB8AC3E}">
        <p14:creationId xmlns:p14="http://schemas.microsoft.com/office/powerpoint/2010/main" val="27899969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58FC76-D64D-43F2-8B03-9AE14BDC2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83021" y="5308231"/>
            <a:ext cx="771896" cy="305131"/>
          </a:xfrm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1638A7-3163-4CC8-8C9B-33CA73D92B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9144000" cy="50520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859522-6D22-4569-A15C-37DAC7889534}"/>
              </a:ext>
            </a:extLst>
          </p:cNvPr>
          <p:cNvSpPr txBox="1"/>
          <p:nvPr/>
        </p:nvSpPr>
        <p:spPr>
          <a:xfrm>
            <a:off x="2410096" y="4881249"/>
            <a:ext cx="661307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chemeClr val="tx2"/>
                </a:solidFill>
              </a:rPr>
              <a:t>Gemini 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2A716E-882E-4B06-B70F-98A9CF51B36B}"/>
              </a:ext>
            </a:extLst>
          </p:cNvPr>
          <p:cNvSpPr txBox="1"/>
          <p:nvPr/>
        </p:nvSpPr>
        <p:spPr>
          <a:xfrm>
            <a:off x="3456758" y="1250312"/>
            <a:ext cx="22304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Summary</a:t>
            </a:r>
          </a:p>
          <a:p>
            <a:pPr algn="ctr"/>
            <a:endParaRPr lang="en-US" sz="1600" b="1" dirty="0">
              <a:solidFill>
                <a:schemeClr val="tx2"/>
              </a:solidFill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▶ </a:t>
            </a:r>
            <a:r>
              <a:rPr lang="en-US" sz="1600" b="1" dirty="0">
                <a:solidFill>
                  <a:schemeClr val="tx2"/>
                </a:solidFill>
              </a:rPr>
              <a:t>Motivation</a:t>
            </a:r>
          </a:p>
          <a:p>
            <a:pPr algn="ctr"/>
            <a:endParaRPr lang="en-US" sz="1600" b="1" dirty="0">
              <a:solidFill>
                <a:schemeClr val="tx2"/>
              </a:solidFill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▶ </a:t>
            </a:r>
            <a:r>
              <a:rPr lang="en-US" sz="1600" b="1" dirty="0">
                <a:solidFill>
                  <a:schemeClr val="tx2"/>
                </a:solidFill>
              </a:rPr>
              <a:t>Background</a:t>
            </a:r>
          </a:p>
          <a:p>
            <a:pPr algn="ctr"/>
            <a:endParaRPr lang="en-US" sz="1600" b="1" dirty="0">
              <a:solidFill>
                <a:schemeClr val="tx2"/>
              </a:solidFill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▶ </a:t>
            </a:r>
            <a:r>
              <a:rPr lang="en-US" sz="1600" b="1" dirty="0">
                <a:solidFill>
                  <a:schemeClr val="tx2"/>
                </a:solidFill>
              </a:rPr>
              <a:t>Approach</a:t>
            </a:r>
          </a:p>
          <a:p>
            <a:pPr algn="ctr"/>
            <a:endParaRPr lang="en-US" sz="1600" b="1" dirty="0">
              <a:solidFill>
                <a:schemeClr val="tx2"/>
              </a:solidFill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▶ </a:t>
            </a:r>
            <a:r>
              <a:rPr lang="en-US" sz="1600" b="1" dirty="0">
                <a:solidFill>
                  <a:schemeClr val="tx2"/>
                </a:solidFill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872892667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55E8E1-87AC-4266-B90C-17EBDD184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577396-39FE-47CA-BF30-6742D3B5C356}"/>
              </a:ext>
            </a:extLst>
          </p:cNvPr>
          <p:cNvSpPr txBox="1"/>
          <p:nvPr/>
        </p:nvSpPr>
        <p:spPr>
          <a:xfrm>
            <a:off x="1371783" y="464364"/>
            <a:ext cx="6400434" cy="4093428"/>
          </a:xfrm>
          <a:prstGeom prst="rect">
            <a:avLst/>
          </a:prstGeom>
          <a:solidFill>
            <a:schemeClr val="accent5">
              <a:lumMod val="10000"/>
              <a:alpha val="55000"/>
            </a:schemeClr>
          </a:solidFill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</a:rPr>
              <a:t>What is important in the system?</a:t>
            </a:r>
          </a:p>
          <a:p>
            <a:endParaRPr lang="en-US" sz="2800" b="1" dirty="0">
              <a:solidFill>
                <a:srgbClr val="FFFFFF"/>
              </a:solidFill>
            </a:endParaRPr>
          </a:p>
          <a:p>
            <a:r>
              <a:rPr lang="en-US" sz="2800" b="1" dirty="0">
                <a:solidFill>
                  <a:srgbClr val="FFFFFF"/>
                </a:solidFill>
              </a:rPr>
              <a:t>Importance measures from simulation…</a:t>
            </a:r>
          </a:p>
          <a:p>
            <a:endParaRPr lang="en-US" sz="2800" b="1" dirty="0">
              <a:solidFill>
                <a:srgbClr val="FFFFFF"/>
              </a:solidFill>
            </a:endParaRPr>
          </a:p>
          <a:p>
            <a:r>
              <a:rPr lang="en-US" sz="2000" b="1" dirty="0" err="1">
                <a:solidFill>
                  <a:srgbClr val="FFFFFF"/>
                </a:solidFill>
              </a:rPr>
              <a:t>Borgonovo</a:t>
            </a:r>
            <a:r>
              <a:rPr lang="en-US" sz="2000" b="1" dirty="0">
                <a:solidFill>
                  <a:srgbClr val="FFFFFF"/>
                </a:solidFill>
              </a:rPr>
              <a:t>, E. and C. Smith (2025), “Importance</a:t>
            </a:r>
          </a:p>
          <a:p>
            <a:r>
              <a:rPr lang="en-US" sz="2000" b="1" dirty="0">
                <a:solidFill>
                  <a:srgbClr val="FFFFFF"/>
                </a:solidFill>
              </a:rPr>
              <a:t>measures from complex reliability simulations,”</a:t>
            </a:r>
          </a:p>
          <a:p>
            <a:r>
              <a:rPr lang="en-US" sz="2000" b="1" dirty="0">
                <a:solidFill>
                  <a:srgbClr val="FFFFFF"/>
                </a:solidFill>
              </a:rPr>
              <a:t>In 35th European Safety and Reliability Conference</a:t>
            </a:r>
          </a:p>
          <a:p>
            <a:r>
              <a:rPr lang="en-US" sz="2000" b="1" dirty="0">
                <a:solidFill>
                  <a:srgbClr val="FFFFFF"/>
                </a:solidFill>
              </a:rPr>
              <a:t>(ESREL 2025) and the 33rd Society for Risk Analysis Europe Conference (SRA-E 2025), pp. 330–337.</a:t>
            </a: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1AF927-E543-4E18-8E6F-63C8CB316685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5548A5-EFE0-45F1-ADF3-6ADAB24C16B3}"/>
              </a:ext>
            </a:extLst>
          </p:cNvPr>
          <p:cNvSpPr txBox="1"/>
          <p:nvPr/>
        </p:nvSpPr>
        <p:spPr>
          <a:xfrm>
            <a:off x="530678" y="4680553"/>
            <a:ext cx="8082643" cy="308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https://rpsonline.com.sg/proceedings/esrel-sra-e2025/pdf/ESREL-SRA-E2025-P8909.pdf</a:t>
            </a:r>
          </a:p>
        </p:txBody>
      </p:sp>
    </p:spTree>
    <p:extLst>
      <p:ext uri="{BB962C8B-B14F-4D97-AF65-F5344CB8AC3E}">
        <p14:creationId xmlns:p14="http://schemas.microsoft.com/office/powerpoint/2010/main" val="3303577926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1A6267-E7A7-466B-ABF3-10E33FE5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CAF7C3-066F-437A-B40D-43BA73D986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054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38658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24B685-AFB2-4378-B833-13CF5E54B3B8}"/>
              </a:ext>
            </a:extLst>
          </p:cNvPr>
          <p:cNvSpPr/>
          <p:nvPr/>
        </p:nvSpPr>
        <p:spPr bwMode="auto">
          <a:xfrm>
            <a:off x="0" y="0"/>
            <a:ext cx="9144000" cy="50520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54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384454976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6FB37-706B-4726-926F-05CEAA752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807A37-2D3B-454C-BAEF-3A6B8ADE60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e have proposed a way to compute reliability importance measures from complex computer simulations</a:t>
            </a:r>
          </a:p>
          <a:p>
            <a:pPr lvl="1"/>
            <a:r>
              <a:rPr lang="en-US" dirty="0"/>
              <a:t>No need to run conditional simulations yields a notable reduction in computational burden</a:t>
            </a:r>
          </a:p>
          <a:p>
            <a:r>
              <a:rPr lang="en-US" dirty="0"/>
              <a:t>We find asymptotically consistent IM estimates</a:t>
            </a:r>
          </a:p>
          <a:p>
            <a:r>
              <a:rPr lang="en-US" dirty="0"/>
              <a:t>Results show applicability of the method to match traditional IMs</a:t>
            </a:r>
          </a:p>
          <a:p>
            <a:r>
              <a:rPr lang="en-US" dirty="0"/>
              <a:t>Approach allows estimation and paves the way to chose the proper importance measure for the application at hand</a:t>
            </a:r>
          </a:p>
          <a:p>
            <a:pPr lvl="1"/>
            <a:r>
              <a:rPr lang="en-US" dirty="0"/>
              <a:t>Safety significance, resilience, performance, maintenance...</a:t>
            </a:r>
          </a:p>
          <a:p>
            <a:r>
              <a:rPr lang="en-US" dirty="0"/>
              <a:t>Got Files?</a:t>
            </a:r>
          </a:p>
          <a:p>
            <a:pPr lvl="1"/>
            <a:r>
              <a:rPr lang="en-US" dirty="0"/>
              <a:t>https://github.com/emanueleborgonovo/ReliabilityImportanceMeas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A662D-BCF4-4063-9FBB-C21C34E413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832347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0F2173-0F7C-4788-9575-344EE8DE0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4D4D15-6A16-410B-9004-9738B6F3FB68}"/>
              </a:ext>
            </a:extLst>
          </p:cNvPr>
          <p:cNvSpPr txBox="1"/>
          <p:nvPr/>
        </p:nvSpPr>
        <p:spPr>
          <a:xfrm>
            <a:off x="8089175" y="5499556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BA746F-0F75-425F-ACF2-CB0B97D1D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5410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www.cbj.ca/wp-content/uploads/2015/05/Money-falling-off-a-clif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44000" cy="50534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03420" y="1708028"/>
            <a:ext cx="4320541" cy="249236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>
            <a:normAutofit lnSpcReduction="10000"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Risk can represent a performance shortfall</a:t>
            </a:r>
          </a:p>
          <a:p>
            <a:pPr algn="ctr"/>
            <a:endParaRPr lang="en-US" sz="2800" b="1" dirty="0">
              <a:solidFill>
                <a:srgbClr val="FFFFFF"/>
              </a:solidFill>
            </a:endParaRPr>
          </a:p>
          <a:p>
            <a:pPr algn="ctr"/>
            <a:r>
              <a:rPr lang="en-US" sz="2800" b="1" dirty="0">
                <a:solidFill>
                  <a:srgbClr val="FFFFFF"/>
                </a:solidFill>
              </a:rPr>
              <a:t>– Risk Analysis –</a:t>
            </a:r>
            <a:r>
              <a:rPr lang="en-US" sz="2800" b="1" dirty="0">
                <a:solidFill>
                  <a:srgbClr val="FFFFFF"/>
                </a:solidFill>
                <a:sym typeface="Wingdings" panose="05000000000000000000" pitchFamily="2" charset="2"/>
              </a:rPr>
              <a:t> science-driven way to make things </a:t>
            </a:r>
            <a:r>
              <a:rPr lang="en-US" sz="2800" b="1" i="1" dirty="0">
                <a:solidFill>
                  <a:srgbClr val="FFFFFF"/>
                </a:solidFill>
                <a:sym typeface="Wingdings" panose="05000000000000000000" pitchFamily="2" charset="2"/>
              </a:rPr>
              <a:t>better</a:t>
            </a:r>
            <a:endParaRPr lang="en-US" sz="2800" b="1" i="1" dirty="0">
              <a:solidFill>
                <a:srgbClr val="FFFF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714E02-8754-4A86-BFA6-AC56020D9A0C}"/>
              </a:ext>
            </a:extLst>
          </p:cNvPr>
          <p:cNvSpPr txBox="1"/>
          <p:nvPr/>
        </p:nvSpPr>
        <p:spPr>
          <a:xfrm>
            <a:off x="303712" y="242492"/>
            <a:ext cx="64955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0" dirty="0">
                <a:solidFill>
                  <a:srgbClr val="FFFFFF"/>
                </a:solidFill>
              </a:rPr>
              <a:t>“Risk” can describe different contexts</a:t>
            </a:r>
            <a:endParaRPr lang="en-US" sz="3600" b="1" dirty="0"/>
          </a:p>
        </p:txBody>
      </p:sp>
      <p:sp>
        <p:nvSpPr>
          <p:cNvPr id="14" name="Slide Number Placeholder 17">
            <a:extLst>
              <a:ext uri="{FF2B5EF4-FFF2-40B4-BE49-F238E27FC236}">
                <a16:creationId xmlns:a16="http://schemas.microsoft.com/office/drawing/2014/main" id="{54A4D8D5-55B0-4A1A-9025-8560E4CD9E69}"/>
              </a:ext>
            </a:extLst>
          </p:cNvPr>
          <p:cNvSpPr txBox="1">
            <a:spLocks/>
          </p:cNvSpPr>
          <p:nvPr/>
        </p:nvSpPr>
        <p:spPr>
          <a:xfrm>
            <a:off x="8288412" y="5318654"/>
            <a:ext cx="771896" cy="305131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marL="0" algn="r" defTabSz="713232" rtl="0" eaLnBrk="1" latinLnBrk="0" hangingPunct="1">
              <a:defRPr sz="1400" b="1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-US" smtClean="0">
                <a:sym typeface="Calibri"/>
              </a:rPr>
              <a:pPr/>
              <a:t>3</a:t>
            </a:fld>
            <a:endParaRPr lang="en-US" dirty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4445272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dizp62k3hja4n.cloudfront.net/uploads/virgo/image/image/7554/danger-851895_960_7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07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68223" y="350322"/>
            <a:ext cx="4566810" cy="4298868"/>
          </a:xfrm>
          <a:prstGeom prst="rect">
            <a:avLst/>
          </a:prstGeom>
          <a:solidFill>
            <a:srgbClr val="FFFFFF">
              <a:alpha val="66000"/>
            </a:srgb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800" b="1" dirty="0">
                <a:solidFill>
                  <a:srgbClr val="002060"/>
                </a:solidFill>
              </a:rPr>
              <a:t>Risk as an impact to safety</a:t>
            </a:r>
          </a:p>
          <a:p>
            <a:pPr algn="ctr"/>
            <a:endParaRPr lang="en-US" sz="2800" b="1" dirty="0">
              <a:solidFill>
                <a:srgbClr val="002060"/>
              </a:solidFill>
            </a:endParaRPr>
          </a:p>
          <a:p>
            <a:pPr algn="ctr"/>
            <a:r>
              <a:rPr lang="en-US" sz="2800" b="1" dirty="0">
                <a:solidFill>
                  <a:srgbClr val="002060"/>
                </a:solidFill>
              </a:rPr>
              <a:t>Computer simulation to evaluate complex systems</a:t>
            </a:r>
          </a:p>
          <a:p>
            <a:pPr algn="ctr"/>
            <a:endParaRPr lang="en-US" sz="2800" b="1" dirty="0">
              <a:solidFill>
                <a:schemeClr val="tx1"/>
              </a:solidFill>
            </a:endParaRPr>
          </a:p>
          <a:p>
            <a:pPr algn="ctr"/>
            <a:r>
              <a:rPr lang="en-US" sz="2800" b="1" dirty="0">
                <a:solidFill>
                  <a:schemeClr val="tx1"/>
                </a:solidFill>
              </a:rPr>
              <a:t>– </a:t>
            </a:r>
            <a:r>
              <a:rPr lang="en-US" sz="2800" b="1" dirty="0">
                <a:solidFill>
                  <a:srgbClr val="C00000"/>
                </a:solidFill>
              </a:rPr>
              <a:t>Computational Risk Analysis (CRA)</a:t>
            </a:r>
            <a:endParaRPr lang="en-US" sz="2800" b="1" i="1" dirty="0">
              <a:solidFill>
                <a:srgbClr val="C00000"/>
              </a:solidFill>
            </a:endParaRPr>
          </a:p>
        </p:txBody>
      </p:sp>
      <p:sp>
        <p:nvSpPr>
          <p:cNvPr id="11" name="Slide Number Placeholder 17">
            <a:extLst>
              <a:ext uri="{FF2B5EF4-FFF2-40B4-BE49-F238E27FC236}">
                <a16:creationId xmlns:a16="http://schemas.microsoft.com/office/drawing/2014/main" id="{14AAC95E-4C63-42C4-8BDD-AF0924BA4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88412" y="5318654"/>
            <a:ext cx="771896" cy="305131"/>
          </a:xfrm>
        </p:spPr>
        <p:txBody>
          <a:bodyPr/>
          <a:lstStyle/>
          <a:p>
            <a:fld id="{00000000-1234-1234-1234-123412341234}" type="slidenum">
              <a:rPr lang="en-US">
                <a:sym typeface="Calibri"/>
              </a:rPr>
              <a:pPr/>
              <a:t>4</a:t>
            </a:fld>
            <a:endParaRPr lang="en-US" dirty="0"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933396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E2BE9-B6D7-4F72-8A89-C9A27AF31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24B685-AFB2-4378-B833-13CF5E54B3B8}"/>
              </a:ext>
            </a:extLst>
          </p:cNvPr>
          <p:cNvSpPr/>
          <p:nvPr/>
        </p:nvSpPr>
        <p:spPr bwMode="auto">
          <a:xfrm>
            <a:off x="0" y="0"/>
            <a:ext cx="9144000" cy="5052060"/>
          </a:xfrm>
          <a:prstGeom prst="rect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548640" tIns="274320" rIns="548640" bIns="2743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5400" b="1" dirty="0">
                <a:solidFill>
                  <a:srgbClr val="FFFFFF"/>
                </a:solidFill>
                <a:latin typeface="Helvetica Neue Bold Condensed" charset="0"/>
                <a:ea typeface="ヒラギノ角ゴ ProN W6" charset="0"/>
                <a:cs typeface="ヒラギノ角ゴ ProN W6" charset="0"/>
                <a:sym typeface="Helvetica Neue Bold Condensed" charset="0"/>
              </a:rPr>
              <a:t>Background</a:t>
            </a:r>
            <a:endParaRPr kumimoji="0" lang="en-US" sz="5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Helvetica Neue Bold Condensed" charset="0"/>
              <a:ea typeface="ヒラギノ角ゴ ProN W6" charset="0"/>
              <a:cs typeface="ヒラギノ角ゴ ProN W6" charset="0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92451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AAE7A7-C5E1-4311-8EA4-C795803224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0668" y="5327281"/>
            <a:ext cx="771896" cy="305131"/>
          </a:xfrm>
        </p:spPr>
        <p:txBody>
          <a:bodyPr/>
          <a:lstStyle/>
          <a:p>
            <a:fld id="{52F944B2-F48B-48A3-A41A-88364E9537B0}" type="slidenum">
              <a:rPr lang="en-US" smtClean="0">
                <a:sym typeface="Helvetica Neue Bold Condensed" charset="0"/>
              </a:rPr>
              <a:pPr/>
              <a:t>6</a:t>
            </a:fld>
            <a:endParaRPr lang="en-US"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293431-929D-47F6-877F-288BEE9FE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9144000" cy="50553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EF7A950-A1A6-4934-B50E-7CDBB984B261}"/>
              </a:ext>
            </a:extLst>
          </p:cNvPr>
          <p:cNvSpPr txBox="1"/>
          <p:nvPr/>
        </p:nvSpPr>
        <p:spPr>
          <a:xfrm>
            <a:off x="91441" y="2857500"/>
            <a:ext cx="498383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</a:effectLst>
              </a:rPr>
              <a:t>Off-normal scenarios = Initiating Events </a:t>
            </a:r>
            <a:r>
              <a:rPr lang="en-US" sz="3200" b="1" dirty="0">
                <a:solidFill>
                  <a:srgbClr val="FFFF00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</a:effectLst>
              </a:rPr>
              <a:t>+</a:t>
            </a:r>
            <a:r>
              <a:rPr lang="en-US" sz="3200" b="1" dirty="0">
                <a:solidFill>
                  <a:srgbClr val="FFFFFF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</a:effectLst>
              </a:rPr>
              <a:t> Enabling Condi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6FC32F-994C-4FD2-8F49-22658CDE41E9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</p:spTree>
    <p:extLst>
      <p:ext uri="{BB962C8B-B14F-4D97-AF65-F5344CB8AC3E}">
        <p14:creationId xmlns:p14="http://schemas.microsoft.com/office/powerpoint/2010/main" val="145844893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892868-1903-4E31-9714-354080DC8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76C63D-0FD8-4E7C-9C65-AA0EB1119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04552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5D44080-5964-4EAA-A9C4-928BA1D19935}"/>
              </a:ext>
            </a:extLst>
          </p:cNvPr>
          <p:cNvSpPr txBox="1"/>
          <p:nvPr/>
        </p:nvSpPr>
        <p:spPr>
          <a:xfrm>
            <a:off x="2504803" y="77110"/>
            <a:ext cx="417031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2" algn="ctr"/>
            <a:r>
              <a:rPr lang="en-US" sz="1400" b="1" dirty="0">
                <a:solidFill>
                  <a:srgbClr val="0070C0"/>
                </a:solidFill>
              </a:rPr>
              <a:t>Components that contribute to system and</a:t>
            </a:r>
          </a:p>
          <a:p>
            <a:pPr marL="0" lvl="2" algn="ctr"/>
            <a:r>
              <a:rPr lang="en-US" sz="1400" b="1" dirty="0">
                <a:solidFill>
                  <a:srgbClr val="0070C0"/>
                </a:solidFill>
              </a:rPr>
              <a:t>plant performance need to be evalua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26BF3E-F48F-4125-A65E-231AEA26AEDD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0070C0"/>
                </a:solidFill>
              </a:rPr>
              <a:t>Gemini 3</a:t>
            </a:r>
          </a:p>
        </p:txBody>
      </p:sp>
    </p:spTree>
    <p:extLst>
      <p:ext uri="{BB962C8B-B14F-4D97-AF65-F5344CB8AC3E}">
        <p14:creationId xmlns:p14="http://schemas.microsoft.com/office/powerpoint/2010/main" val="113279615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575518-0768-42DB-9926-9B6561F81B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E9E31D-5A79-45EB-AD6E-61AA30CD5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9144000" cy="50520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5A1C1A-053F-496F-9D05-D7D492185706}"/>
              </a:ext>
            </a:extLst>
          </p:cNvPr>
          <p:cNvSpPr txBox="1"/>
          <p:nvPr/>
        </p:nvSpPr>
        <p:spPr>
          <a:xfrm>
            <a:off x="120833" y="304906"/>
            <a:ext cx="5736759" cy="4093428"/>
          </a:xfrm>
          <a:prstGeom prst="rect">
            <a:avLst/>
          </a:prstGeom>
          <a:solidFill>
            <a:schemeClr val="bg1">
              <a:lumMod val="50000"/>
              <a:alpha val="73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</a:rPr>
              <a:t>Importance Measures (</a:t>
            </a:r>
            <a:r>
              <a:rPr lang="en-US" sz="2000" b="1" dirty="0" err="1">
                <a:solidFill>
                  <a:srgbClr val="FFFFFF"/>
                </a:solidFill>
              </a:rPr>
              <a:t>Ims</a:t>
            </a:r>
            <a:r>
              <a:rPr lang="en-US" sz="2000" b="1" dirty="0">
                <a:solidFill>
                  <a:srgbClr val="FFFFFF"/>
                </a:solidFill>
              </a:rPr>
              <a:t>) are a central tool supporting engineering decision making</a:t>
            </a:r>
          </a:p>
          <a:p>
            <a:endParaRPr lang="en-US" sz="2000" b="1" dirty="0">
              <a:solidFill>
                <a:srgbClr val="FFFFFF"/>
              </a:solidFill>
            </a:endParaRPr>
          </a:p>
          <a:p>
            <a:r>
              <a:rPr lang="en-US" sz="2000" b="1" dirty="0">
                <a:solidFill>
                  <a:srgbClr val="FFFFFF"/>
                </a:solidFill>
              </a:rPr>
              <a:t>Allow us to identify important components in a system under a variety of settings</a:t>
            </a:r>
          </a:p>
          <a:p>
            <a:endParaRPr lang="en-US" sz="2000" b="1" dirty="0">
              <a:solidFill>
                <a:srgbClr val="FFFFFF"/>
              </a:solidFill>
            </a:endParaRPr>
          </a:p>
          <a:p>
            <a:r>
              <a:rPr lang="en-US" sz="2000" b="1" dirty="0">
                <a:solidFill>
                  <a:srgbClr val="FFFFFF"/>
                </a:solidFill>
              </a:rPr>
              <a:t>Over the years several Reliability-focused IMs developed</a:t>
            </a:r>
          </a:p>
          <a:p>
            <a:r>
              <a:rPr lang="en-US" sz="2000" b="1" dirty="0">
                <a:solidFill>
                  <a:srgbClr val="FFFFFF"/>
                </a:solidFill>
              </a:rPr>
              <a:t>	Mainly focused on Boolean-logic based 	models</a:t>
            </a:r>
          </a:p>
          <a:p>
            <a:endParaRPr lang="en-US" sz="2000" b="1" dirty="0">
              <a:solidFill>
                <a:srgbClr val="FFFFFF"/>
              </a:solidFill>
            </a:endParaRPr>
          </a:p>
          <a:p>
            <a:r>
              <a:rPr lang="en-US" sz="2000" b="1" dirty="0">
                <a:solidFill>
                  <a:srgbClr val="FFFFFF"/>
                </a:solidFill>
              </a:rPr>
              <a:t>What challenges and insights are to be found when performing computational simulatio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40003A-907B-48C3-8E83-F64449D08E28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</p:spTree>
    <p:extLst>
      <p:ext uri="{BB962C8B-B14F-4D97-AF65-F5344CB8AC3E}">
        <p14:creationId xmlns:p14="http://schemas.microsoft.com/office/powerpoint/2010/main" val="152846467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DAA82F-7D06-478A-8583-435B48B32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52F944B2-F48B-48A3-A41A-88364E9537B0}" type="slidenum">
              <a:rPr lang="en-US" smtClean="0">
                <a:solidFill>
                  <a:srgbClr val="808080">
                    <a:lumMod val="75000"/>
                  </a:srgbClr>
                </a:solidFill>
                <a:latin typeface="Helvetica Neue Bold Condensed" charset="0"/>
                <a:ea typeface="ヒラギノ角ゴ ProN W6" charset="-128"/>
                <a:sym typeface="Helvetica Neue Bold Condensed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>
              <a:solidFill>
                <a:srgbClr val="808080">
                  <a:lumMod val="75000"/>
                </a:srgbClr>
              </a:solidFill>
              <a:latin typeface="Helvetica Neue Bold Condensed" charset="0"/>
              <a:ea typeface="ヒラギノ角ゴ ProN W6" charset="-128"/>
              <a:sym typeface="Helvetica Neue Bold Condensed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9D77A9-3296-4645-8BE6-31EF8905A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0277"/>
            <a:ext cx="9144000" cy="51077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F85201-A507-47C1-BA13-1020FBC056FE}"/>
              </a:ext>
            </a:extLst>
          </p:cNvPr>
          <p:cNvSpPr txBox="1"/>
          <p:nvPr/>
        </p:nvSpPr>
        <p:spPr>
          <a:xfrm>
            <a:off x="8059783" y="4881249"/>
            <a:ext cx="9633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rgbClr val="FFFFFF"/>
                </a:solidFill>
              </a:rPr>
              <a:t>Gemini 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DE22E1-B590-4078-AFB7-1EB625C5444A}"/>
              </a:ext>
            </a:extLst>
          </p:cNvPr>
          <p:cNvSpPr txBox="1"/>
          <p:nvPr/>
        </p:nvSpPr>
        <p:spPr>
          <a:xfrm>
            <a:off x="4052751" y="195831"/>
            <a:ext cx="4970416" cy="3785652"/>
          </a:xfrm>
          <a:prstGeom prst="rect">
            <a:avLst/>
          </a:prstGeom>
          <a:solidFill>
            <a:schemeClr val="tx1">
              <a:lumMod val="50000"/>
              <a:alpha val="67000"/>
            </a:schemeClr>
          </a:solidFill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Boolean-based IMs have understood calculations</a:t>
            </a:r>
          </a:p>
          <a:p>
            <a:endParaRPr lang="en-US" sz="2400" b="1" dirty="0">
              <a:solidFill>
                <a:srgbClr val="FFFFFF"/>
              </a:solidFill>
            </a:endParaRPr>
          </a:p>
          <a:p>
            <a:r>
              <a:rPr lang="en-US" sz="2400" b="1" dirty="0">
                <a:solidFill>
                  <a:srgbClr val="FFFFFF"/>
                </a:solidFill>
              </a:rPr>
              <a:t>For example, Birnbaum</a:t>
            </a:r>
          </a:p>
          <a:p>
            <a:r>
              <a:rPr lang="en-US" sz="2400" b="1" dirty="0">
                <a:solidFill>
                  <a:srgbClr val="FFFFFF"/>
                </a:solidFill>
              </a:rPr>
              <a:t>B</a:t>
            </a:r>
            <a:r>
              <a:rPr lang="en-US" sz="2400" b="1" baseline="-25000" dirty="0">
                <a:solidFill>
                  <a:srgbClr val="FFFFFF"/>
                </a:solidFill>
              </a:rPr>
              <a:t>i</a:t>
            </a:r>
            <a:r>
              <a:rPr lang="en-US" sz="2400" b="1" dirty="0">
                <a:solidFill>
                  <a:srgbClr val="FFFFFF"/>
                </a:solidFill>
              </a:rPr>
              <a:t> = P[</a:t>
            </a:r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θ(1)] – </a:t>
            </a:r>
            <a:r>
              <a:rPr lang="en-US" sz="2400" b="1" dirty="0">
                <a:solidFill>
                  <a:srgbClr val="FFFFFF"/>
                </a:solidFill>
              </a:rPr>
              <a:t>P[</a:t>
            </a:r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θ(0)]</a:t>
            </a:r>
          </a:p>
          <a:p>
            <a:endParaRPr lang="en-US" sz="2400" b="1" dirty="0">
              <a:solidFill>
                <a:srgbClr val="FFFFFF"/>
              </a:solidFill>
              <a:ea typeface="Cambria Math" panose="02040503050406030204" pitchFamily="18" charset="0"/>
            </a:endParaRPr>
          </a:p>
          <a:p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and RAW  </a:t>
            </a:r>
          </a:p>
          <a:p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RAW = </a:t>
            </a:r>
            <a:r>
              <a:rPr lang="en-US" sz="2400" b="1" dirty="0">
                <a:solidFill>
                  <a:srgbClr val="FFFFFF"/>
                </a:solidFill>
              </a:rPr>
              <a:t>P[</a:t>
            </a:r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θ(1)] / </a:t>
            </a:r>
            <a:r>
              <a:rPr lang="en-US" sz="2400" b="1" dirty="0">
                <a:solidFill>
                  <a:srgbClr val="FFFFFF"/>
                </a:solidFill>
              </a:rPr>
              <a:t>P[</a:t>
            </a:r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θ(nominal)]</a:t>
            </a:r>
          </a:p>
          <a:p>
            <a:endParaRPr lang="en-US" sz="2400" b="1" dirty="0">
              <a:solidFill>
                <a:srgbClr val="FFFFFF"/>
              </a:solidFill>
              <a:ea typeface="Cambria Math" panose="02040503050406030204" pitchFamily="18" charset="0"/>
            </a:endParaRPr>
          </a:p>
          <a:p>
            <a:r>
              <a:rPr lang="en-US" sz="2400" b="1" dirty="0">
                <a:solidFill>
                  <a:srgbClr val="FFFFFF"/>
                </a:solidFill>
                <a:ea typeface="Cambria Math" panose="02040503050406030204" pitchFamily="18" charset="0"/>
              </a:rPr>
              <a:t>But what about simulation? </a:t>
            </a:r>
            <a:endParaRPr lang="en-US" sz="2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82759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Title_Page">
  <a:themeElements>
    <a:clrScheme name="">
      <a:dk1>
        <a:srgbClr val="4A7594"/>
      </a:dk1>
      <a:lt1>
        <a:srgbClr val="B58A6B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D7C4BA"/>
      </a:accent3>
      <a:accent4>
        <a:srgbClr val="3E637E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llets">
      <a:majorFont>
        <a:latin typeface="Helvetica Neue Light"/>
        <a:ea typeface="ヒラギノ角ゴ ProN W3"/>
        <a:cs typeface="ヒラギノ角ゴ ProN W3"/>
      </a:majorFont>
      <a:minorFont>
        <a:latin typeface="Helvetica Neue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>
          <a:noFill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4A7594"/>
            </a:solidFill>
            <a:effectLst/>
            <a:latin typeface="Helvetica Neue Bold Condensed" charset="0"/>
            <a:ea typeface="ヒラギノ角ゴ ProN W6" charset="0"/>
            <a:cs typeface="ヒラギノ角ゴ ProN W6" charset="0"/>
            <a:sym typeface="Helvetica Neue Bold Condensed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>
          <a:noFill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4A7594"/>
            </a:solidFill>
            <a:effectLst/>
            <a:latin typeface="Helvetica Neue Bold Condensed" charset="0"/>
            <a:ea typeface="ヒラギノ角ゴ ProN W6" charset="0"/>
            <a:cs typeface="ヒラギノ角ゴ ProN W6" charset="0"/>
            <a:sym typeface="Helvetica Neue Bold Condensed" charset="0"/>
          </a:defRPr>
        </a:defPPr>
      </a:lstStyle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5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5ABB"/>
    </a:accent1>
    <a:accent2>
      <a:srgbClr val="C94D00"/>
    </a:accent2>
    <a:accent3>
      <a:srgbClr val="642566"/>
    </a:accent3>
    <a:accent4>
      <a:srgbClr val="9B243E"/>
    </a:accent4>
    <a:accent5>
      <a:srgbClr val="006544"/>
    </a:accent5>
    <a:accent6>
      <a:srgbClr val="003479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076</TotalTime>
  <Words>745</Words>
  <Application>Microsoft Office PowerPoint</Application>
  <PresentationFormat>On-screen Show (16:10)</PresentationFormat>
  <Paragraphs>153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Cambria Math</vt:lpstr>
      <vt:lpstr>Helvetica Neue</vt:lpstr>
      <vt:lpstr>Helvetica Neue Bold Condensed</vt:lpstr>
      <vt:lpstr>Helvetica Neue Light</vt:lpstr>
      <vt:lpstr>Title_Page</vt:lpstr>
      <vt:lpstr>think-cell Slide</vt:lpstr>
      <vt:lpstr>Obtaining System- and Component-Level Insights from Importance Measures Using an Efficient Data-Driven Simulation Approach Prof. Curtis Lee Smith Prof. Emanuele Borgonov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RALD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 Summary</vt:lpstr>
      <vt:lpstr>PowerPoint Presentation</vt:lpstr>
    </vt:vector>
  </TitlesOfParts>
  <Company>Massachusetts Institute of Technolo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Computational Fluid Dynamics and Heat Transfer</dc:title>
  <dc:creator>curtis@mit.edu</dc:creator>
  <cp:lastModifiedBy>curtis</cp:lastModifiedBy>
  <cp:revision>221</cp:revision>
  <cp:lastPrinted>2013-09-14T23:12:31Z</cp:lastPrinted>
  <dcterms:created xsi:type="dcterms:W3CDTF">2013-09-02T20:45:34Z</dcterms:created>
  <dcterms:modified xsi:type="dcterms:W3CDTF">2026-05-27T18:42:37Z</dcterms:modified>
</cp:coreProperties>
</file>